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564" r:id="rId5"/>
    <p:sldId id="266" r:id="rId6"/>
    <p:sldId id="531" r:id="rId7"/>
    <p:sldId id="589" r:id="rId8"/>
    <p:sldId id="597" r:id="rId9"/>
    <p:sldId id="598" r:id="rId10"/>
    <p:sldId id="599" r:id="rId11"/>
    <p:sldId id="600" r:id="rId12"/>
    <p:sldId id="602" r:id="rId13"/>
    <p:sldId id="603" r:id="rId14"/>
    <p:sldId id="607" r:id="rId15"/>
    <p:sldId id="608" r:id="rId16"/>
    <p:sldId id="605" r:id="rId17"/>
    <p:sldId id="521" r:id="rId18"/>
    <p:sldId id="308" r:id="rId1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5E048C3B-C860-0946-B8EB-EEA370C0C245}">
          <p14:sldIdLst>
            <p14:sldId id="564"/>
            <p14:sldId id="266"/>
            <p14:sldId id="531"/>
            <p14:sldId id="589"/>
            <p14:sldId id="597"/>
            <p14:sldId id="598"/>
            <p14:sldId id="599"/>
            <p14:sldId id="600"/>
            <p14:sldId id="602"/>
            <p14:sldId id="603"/>
            <p14:sldId id="607"/>
            <p14:sldId id="608"/>
            <p14:sldId id="605"/>
            <p14:sldId id="521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3699A"/>
    <a:srgbClr val="113F67"/>
    <a:srgbClr val="757BE6"/>
    <a:srgbClr val="E4D456"/>
    <a:srgbClr val="F15A7F"/>
    <a:srgbClr val="89EC75"/>
    <a:srgbClr val="04529C"/>
    <a:srgbClr val="316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83004D-57D7-4FED-A144-AD6B3604A91F}" v="1011" dt="2020-01-15T17:14:32.839"/>
    <p1510:client id="{11097AE1-8FE5-4C9C-BD15-4C363EB1B3F8}" v="70" dt="2021-01-19T09:39:04.735"/>
    <p1510:client id="{49D14524-AEC9-4141-8760-D9087A495784}" v="172" dt="2021-01-19T10:38:14.500"/>
    <p1510:client id="{51553F83-1C0F-41DA-9215-9B87C4ECD764}" v="66" dt="2020-01-13T11:50:38.154"/>
    <p1510:client id="{55683CF2-F3C1-4A71-BB33-396774E5B4D1}" v="13" dt="2020-01-14T21:21:02.410"/>
    <p1510:client id="{66946E7E-D369-4415-BA61-A69B87E5B379}" v="516" dt="2020-01-13T12:24:26.549"/>
    <p1510:client id="{6A5C41F4-D5CE-41A0-A38B-FB8C862B36B0}" v="1621" dt="2020-01-14T21:49:14.382"/>
    <p1510:client id="{6FC6E936-F934-4CAF-9978-4FF4914385E3}" v="1" dt="2019-04-01T15:47:05.553"/>
    <p1510:client id="{7035F42E-DCB8-4C4B-93A1-13FBC26B59FA}" v="381" dt="2021-01-19T10:19:08.776"/>
    <p1510:client id="{8E179117-6154-4599-96E4-7D5129C381C3}" v="2" dt="2020-01-16T09:21:21.361"/>
    <p1510:client id="{BB906ADF-AB14-4CF1-A6A5-B4D24E7860C2}" v="5249" dt="2020-01-15T11:43:37.602"/>
    <p1510:client id="{CD569C9F-15FE-42A5-B0FD-87496DCACD19}" v="162" dt="2020-01-14T18:35:50.161"/>
    <p1510:client id="{D0D61802-1C80-4C80-BB77-C271B6265087}" v="2" dt="2020-01-15T09:29:41.238"/>
    <p1510:client id="{E8A0F7B0-1C65-4C76-B48C-9E2D56768FD7}" v="85" dt="2021-01-19T09:10:42.756"/>
    <p1510:client id="{F52298E7-D596-40EA-849E-B07C5094B641}" v="228" dt="2020-01-13T12:04:14.979"/>
    <p1510:client id="{F961F51B-FEEA-49E2-A6E4-D59D932D710A}" v="667" dt="2020-01-14T18:33:26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47"/>
    <p:restoredTop sz="94577"/>
  </p:normalViewPr>
  <p:slideViewPr>
    <p:cSldViewPr snapToGrid="0">
      <p:cViewPr varScale="1">
        <p:scale>
          <a:sx n="116" d="100"/>
          <a:sy n="116" d="100"/>
        </p:scale>
        <p:origin x="632" y="192"/>
      </p:cViewPr>
      <p:guideLst>
        <p:guide orient="horz" pos="2160"/>
        <p:guide pos="3840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Amores Alvarez" userId="S::damoresa@everis.com::ff5997fe-a964-45d1-b9c2-852633b5230a" providerId="AD" clId="Web-{D0D61802-1C80-4C80-BB77-C271B6265087}"/>
    <pc:docChg chg="modSld">
      <pc:chgData name="Daniel Amores Alvarez" userId="S::damoresa@everis.com::ff5997fe-a964-45d1-b9c2-852633b5230a" providerId="AD" clId="Web-{D0D61802-1C80-4C80-BB77-C271B6265087}" dt="2020-01-15T09:29:41.238" v="1" actId="20577"/>
      <pc:docMkLst>
        <pc:docMk/>
      </pc:docMkLst>
      <pc:sldChg chg="modSp">
        <pc:chgData name="Daniel Amores Alvarez" userId="S::damoresa@everis.com::ff5997fe-a964-45d1-b9c2-852633b5230a" providerId="AD" clId="Web-{D0D61802-1C80-4C80-BB77-C271B6265087}" dt="2020-01-15T09:29:41.238" v="1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D0D61802-1C80-4C80-BB77-C271B6265087}" dt="2020-01-15T09:29:41.238" v="1" actId="20577"/>
          <ac:spMkLst>
            <pc:docMk/>
            <pc:sldMk cId="4162823876" sldId="55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51553F83-1C0F-41DA-9215-9B87C4ECD764}"/>
    <pc:docChg chg="modSld">
      <pc:chgData name="Daniel Amores Alvarez" userId="S::damoresa@everis.com::ff5997fe-a964-45d1-b9c2-852633b5230a" providerId="AD" clId="Web-{51553F83-1C0F-41DA-9215-9B87C4ECD764}" dt="2020-01-13T11:50:38.154" v="60" actId="20577"/>
      <pc:docMkLst>
        <pc:docMk/>
      </pc:docMkLst>
      <pc:sldChg chg="modSp">
        <pc:chgData name="Daniel Amores Alvarez" userId="S::damoresa@everis.com::ff5997fe-a964-45d1-b9c2-852633b5230a" providerId="AD" clId="Web-{51553F83-1C0F-41DA-9215-9B87C4ECD764}" dt="2020-01-13T11:50:38.154" v="59" actId="20577"/>
        <pc:sldMkLst>
          <pc:docMk/>
          <pc:sldMk cId="1863133937" sldId="477"/>
        </pc:sldMkLst>
        <pc:spChg chg="mod">
          <ac:chgData name="Daniel Amores Alvarez" userId="S::damoresa@everis.com::ff5997fe-a964-45d1-b9c2-852633b5230a" providerId="AD" clId="Web-{51553F83-1C0F-41DA-9215-9B87C4ECD764}" dt="2020-01-13T11:50:22.045" v="49" actId="20577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04.889" v="43" actId="20577"/>
          <ac:spMkLst>
            <pc:docMk/>
            <pc:sldMk cId="1863133937" sldId="477"/>
            <ac:spMk id="11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38.154" v="59" actId="20577"/>
          <ac:spMkLst>
            <pc:docMk/>
            <pc:sldMk cId="1863133937" sldId="477"/>
            <ac:spMk id="12" creationId="{C0FD4F4F-0130-4D9C-8FD2-DC97ED6CEC02}"/>
          </ac:spMkLst>
        </pc:spChg>
      </pc:sldChg>
    </pc:docChg>
  </pc:docChgLst>
  <pc:docChgLst>
    <pc:chgData name="Daniel Amores Alvarez" userId="S::damoresa@everis.com::ff5997fe-a964-45d1-b9c2-852633b5230a" providerId="AD" clId="Web-{F961F51B-FEEA-49E2-A6E4-D59D932D710A}"/>
    <pc:docChg chg="modSld">
      <pc:chgData name="Daniel Amores Alvarez" userId="S::damoresa@everis.com::ff5997fe-a964-45d1-b9c2-852633b5230a" providerId="AD" clId="Web-{F961F51B-FEEA-49E2-A6E4-D59D932D710A}" dt="2020-01-14T18:33:26.265" v="666" actId="20577"/>
      <pc:docMkLst>
        <pc:docMk/>
      </pc:docMkLst>
      <pc:sldChg chg="modSp">
        <pc:chgData name="Daniel Amores Alvarez" userId="S::damoresa@everis.com::ff5997fe-a964-45d1-b9c2-852633b5230a" providerId="AD" clId="Web-{F961F51B-FEEA-49E2-A6E4-D59D932D710A}" dt="2020-01-14T18:33:26.265" v="666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F961F51B-FEEA-49E2-A6E4-D59D932D710A}" dt="2020-01-14T18:33:26.265" v="666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CD569C9F-15FE-42A5-B0FD-87496DCACD19}"/>
    <pc:docChg chg="modSld">
      <pc:chgData name="Daniel Amores Alvarez" userId="S::damoresa@everis.com::ff5997fe-a964-45d1-b9c2-852633b5230a" providerId="AD" clId="Web-{CD569C9F-15FE-42A5-B0FD-87496DCACD19}" dt="2020-01-14T18:35:50.161" v="161" actId="20577"/>
      <pc:docMkLst>
        <pc:docMk/>
      </pc:docMkLst>
      <pc:sldChg chg="modSp">
        <pc:chgData name="Daniel Amores Alvarez" userId="S::damoresa@everis.com::ff5997fe-a964-45d1-b9c2-852633b5230a" providerId="AD" clId="Web-{CD569C9F-15FE-42A5-B0FD-87496DCACD19}" dt="2020-01-14T18:35:50.161" v="161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CD569C9F-15FE-42A5-B0FD-87496DCACD19}" dt="2020-01-14T18:35:50.161" v="161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49D14524-AEC9-4141-8760-D9087A495784}"/>
    <pc:docChg chg="delSld modSld modSection">
      <pc:chgData name="Daniel Amores Alvarez" userId="S::damoresa@everis.com::ff5997fe-a964-45d1-b9c2-852633b5230a" providerId="AD" clId="Web-{49D14524-AEC9-4141-8760-D9087A495784}" dt="2021-01-19T10:38:14.500" v="134"/>
      <pc:docMkLst>
        <pc:docMk/>
      </pc:docMkLst>
      <pc:sldChg chg="modSp">
        <pc:chgData name="Daniel Amores Alvarez" userId="S::damoresa@everis.com::ff5997fe-a964-45d1-b9c2-852633b5230a" providerId="AD" clId="Web-{49D14524-AEC9-4141-8760-D9087A495784}" dt="2021-01-19T10:37:40.703" v="129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49D14524-AEC9-4141-8760-D9087A495784}" dt="2021-01-19T10:37:40.703" v="12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49D14524-AEC9-4141-8760-D9087A495784}" dt="2021-01-19T10:38:07.706" v="131"/>
        <pc:sldMkLst>
          <pc:docMk/>
          <pc:sldMk cId="191639352" sldId="595"/>
        </pc:sldMkLst>
      </pc:sldChg>
      <pc:sldChg chg="modSp">
        <pc:chgData name="Daniel Amores Alvarez" userId="S::damoresa@everis.com::ff5997fe-a964-45d1-b9c2-852633b5230a" providerId="AD" clId="Web-{49D14524-AEC9-4141-8760-D9087A495784}" dt="2021-01-19T10:37:35.874" v="126" actId="20577"/>
        <pc:sldMkLst>
          <pc:docMk/>
          <pc:sldMk cId="367893722" sldId="597"/>
        </pc:sldMkLst>
        <pc:spChg chg="mod">
          <ac:chgData name="Daniel Amores Alvarez" userId="S::damoresa@everis.com::ff5997fe-a964-45d1-b9c2-852633b5230a" providerId="AD" clId="Web-{49D14524-AEC9-4141-8760-D9087A495784}" dt="2021-01-19T10:37:35.874" v="126" actId="20577"/>
          <ac:spMkLst>
            <pc:docMk/>
            <pc:sldMk cId="367893722" sldId="597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49D14524-AEC9-4141-8760-D9087A495784}" dt="2021-01-19T10:37:30.906" v="119" actId="20577"/>
        <pc:sldMkLst>
          <pc:docMk/>
          <pc:sldMk cId="1378607154" sldId="599"/>
        </pc:sldMkLst>
        <pc:spChg chg="mod">
          <ac:chgData name="Daniel Amores Alvarez" userId="S::damoresa@everis.com::ff5997fe-a964-45d1-b9c2-852633b5230a" providerId="AD" clId="Web-{49D14524-AEC9-4141-8760-D9087A495784}" dt="2021-01-19T10:37:30.906" v="119" actId="20577"/>
          <ac:spMkLst>
            <pc:docMk/>
            <pc:sldMk cId="1378607154" sldId="599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49D14524-AEC9-4141-8760-D9087A495784}" dt="2021-01-19T10:37:25.609" v="116" actId="20577"/>
        <pc:sldMkLst>
          <pc:docMk/>
          <pc:sldMk cId="2626077058" sldId="602"/>
        </pc:sldMkLst>
        <pc:spChg chg="mod">
          <ac:chgData name="Daniel Amores Alvarez" userId="S::damoresa@everis.com::ff5997fe-a964-45d1-b9c2-852633b5230a" providerId="AD" clId="Web-{49D14524-AEC9-4141-8760-D9087A495784}" dt="2021-01-19T10:37:25.609" v="116" actId="20577"/>
          <ac:spMkLst>
            <pc:docMk/>
            <pc:sldMk cId="2626077058" sldId="602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49D14524-AEC9-4141-8760-D9087A495784}" dt="2021-01-19T10:38:11.953" v="133"/>
        <pc:sldMkLst>
          <pc:docMk/>
          <pc:sldMk cId="3572963805" sldId="604"/>
        </pc:sldMkLst>
      </pc:sldChg>
      <pc:sldChg chg="modSp">
        <pc:chgData name="Daniel Amores Alvarez" userId="S::damoresa@everis.com::ff5997fe-a964-45d1-b9c2-852633b5230a" providerId="AD" clId="Web-{49D14524-AEC9-4141-8760-D9087A495784}" dt="2021-01-19T10:37:11.218" v="112" actId="20577"/>
        <pc:sldMkLst>
          <pc:docMk/>
          <pc:sldMk cId="3503581065" sldId="605"/>
        </pc:sldMkLst>
        <pc:spChg chg="mod">
          <ac:chgData name="Daniel Amores Alvarez" userId="S::damoresa@everis.com::ff5997fe-a964-45d1-b9c2-852633b5230a" providerId="AD" clId="Web-{49D14524-AEC9-4141-8760-D9087A495784}" dt="2021-01-19T10:37:11.218" v="112" actId="20577"/>
          <ac:spMkLst>
            <pc:docMk/>
            <pc:sldMk cId="3503581065" sldId="605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49D14524-AEC9-4141-8760-D9087A495784}" dt="2021-01-19T10:38:09.594" v="132"/>
        <pc:sldMkLst>
          <pc:docMk/>
          <pc:sldMk cId="224637579" sldId="606"/>
        </pc:sldMkLst>
      </pc:sldChg>
      <pc:sldChg chg="modSp mod modShow">
        <pc:chgData name="Daniel Amores Alvarez" userId="S::damoresa@everis.com::ff5997fe-a964-45d1-b9c2-852633b5230a" providerId="AD" clId="Web-{49D14524-AEC9-4141-8760-D9087A495784}" dt="2021-01-19T10:37:03.843" v="105" actId="20577"/>
        <pc:sldMkLst>
          <pc:docMk/>
          <pc:sldMk cId="518843642" sldId="607"/>
        </pc:sldMkLst>
        <pc:spChg chg="mod">
          <ac:chgData name="Daniel Amores Alvarez" userId="S::damoresa@everis.com::ff5997fe-a964-45d1-b9c2-852633b5230a" providerId="AD" clId="Web-{49D14524-AEC9-4141-8760-D9087A495784}" dt="2021-01-19T10:37:03.843" v="105" actId="20577"/>
          <ac:spMkLst>
            <pc:docMk/>
            <pc:sldMk cId="518843642" sldId="607"/>
            <ac:spMk id="46" creationId="{00000000-0000-0000-0000-000000000000}"/>
          </ac:spMkLst>
        </pc:spChg>
      </pc:sldChg>
      <pc:sldChg chg="modSp mod modShow">
        <pc:chgData name="Daniel Amores Alvarez" userId="S::damoresa@everis.com::ff5997fe-a964-45d1-b9c2-852633b5230a" providerId="AD" clId="Web-{49D14524-AEC9-4141-8760-D9087A495784}" dt="2021-01-19T10:36:49.905" v="94"/>
        <pc:sldMkLst>
          <pc:docMk/>
          <pc:sldMk cId="667787940" sldId="608"/>
        </pc:sldMkLst>
        <pc:spChg chg="mod">
          <ac:chgData name="Daniel Amores Alvarez" userId="S::damoresa@everis.com::ff5997fe-a964-45d1-b9c2-852633b5230a" providerId="AD" clId="Web-{49D14524-AEC9-4141-8760-D9087A495784}" dt="2021-01-19T10:36:40.874" v="92" actId="20577"/>
          <ac:spMkLst>
            <pc:docMk/>
            <pc:sldMk cId="667787940" sldId="608"/>
            <ac:spMk id="15" creationId="{7BD50C13-A712-406E-8E16-C9230DE49BA2}"/>
          </ac:spMkLst>
        </pc:spChg>
      </pc:sldChg>
      <pc:sldChg chg="del">
        <pc:chgData name="Daniel Amores Alvarez" userId="S::damoresa@everis.com::ff5997fe-a964-45d1-b9c2-852633b5230a" providerId="AD" clId="Web-{49D14524-AEC9-4141-8760-D9087A495784}" dt="2021-01-19T10:38:14.500" v="134"/>
        <pc:sldMkLst>
          <pc:docMk/>
          <pc:sldMk cId="679534551" sldId="609"/>
        </pc:sldMkLst>
      </pc:sldChg>
      <pc:sldChg chg="del">
        <pc:chgData name="Daniel Amores Alvarez" userId="S::damoresa@everis.com::ff5997fe-a964-45d1-b9c2-852633b5230a" providerId="AD" clId="Web-{49D14524-AEC9-4141-8760-D9087A495784}" dt="2021-01-19T10:38:05.328" v="130"/>
        <pc:sldMkLst>
          <pc:docMk/>
          <pc:sldMk cId="3200820229" sldId="610"/>
        </pc:sldMkLst>
      </pc:sldChg>
    </pc:docChg>
  </pc:docChgLst>
  <pc:docChgLst>
    <pc:chgData name="Daniel Amores Alvarez" userId="S::damoresa@everis.com::ff5997fe-a964-45d1-b9c2-852633b5230a" providerId="AD" clId="Web-{8E179117-6154-4599-96E4-7D5129C381C3}"/>
    <pc:docChg chg="modSld">
      <pc:chgData name="Daniel Amores Alvarez" userId="S::damoresa@everis.com::ff5997fe-a964-45d1-b9c2-852633b5230a" providerId="AD" clId="Web-{8E179117-6154-4599-96E4-7D5129C381C3}" dt="2020-01-16T09:21:21.361" v="1" actId="20577"/>
      <pc:docMkLst>
        <pc:docMk/>
      </pc:docMkLst>
      <pc:sldChg chg="modSp">
        <pc:chgData name="Daniel Amores Alvarez" userId="S::damoresa@everis.com::ff5997fe-a964-45d1-b9c2-852633b5230a" providerId="AD" clId="Web-{8E179117-6154-4599-96E4-7D5129C381C3}" dt="2020-01-16T09:21:21.361" v="1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8E179117-6154-4599-96E4-7D5129C381C3}" dt="2020-01-16T09:21:21.361" v="1" actId="20577"/>
          <ac:spMkLst>
            <pc:docMk/>
            <pc:sldMk cId="1791240125" sldId="542"/>
            <ac:spMk id="16" creationId="{6909A535-8C53-4A37-B3E0-FC6F7A28423E}"/>
          </ac:spMkLst>
        </pc:spChg>
      </pc:sldChg>
    </pc:docChg>
  </pc:docChgLst>
  <pc:docChgLst>
    <pc:chgData name="Daniel Amores Alvarez" userId="S::damoresa@everis.com::ff5997fe-a964-45d1-b9c2-852633b5230a" providerId="AD" clId="Web-{0D83004D-57D7-4FED-A144-AD6B3604A91F}"/>
    <pc:docChg chg="addSld modSld sldOrd modSection">
      <pc:chgData name="Daniel Amores Alvarez" userId="S::damoresa@everis.com::ff5997fe-a964-45d1-b9c2-852633b5230a" providerId="AD" clId="Web-{0D83004D-57D7-4FED-A144-AD6B3604A91F}" dt="2020-01-15T17:14:31.886" v="992" actId="20577"/>
      <pc:docMkLst>
        <pc:docMk/>
      </pc:docMkLst>
      <pc:sldChg chg="modSp">
        <pc:chgData name="Daniel Amores Alvarez" userId="S::damoresa@everis.com::ff5997fe-a964-45d1-b9c2-852633b5230a" providerId="AD" clId="Web-{0D83004D-57D7-4FED-A144-AD6B3604A91F}" dt="2020-01-15T17:14:31.886" v="992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0D83004D-57D7-4FED-A144-AD6B3604A91F}" dt="2020-01-15T17:14:31.886" v="992" actId="20577"/>
          <ac:spMkLst>
            <pc:docMk/>
            <pc:sldMk cId="4162823876" sldId="551"/>
            <ac:spMk id="14" creationId="{DAACDC37-73F8-46F5-AA87-000E75188D38}"/>
          </ac:spMkLst>
        </pc:spChg>
      </pc:sldChg>
      <pc:sldChg chg="modSp">
        <pc:chgData name="Daniel Amores Alvarez" userId="S::damoresa@everis.com::ff5997fe-a964-45d1-b9c2-852633b5230a" providerId="AD" clId="Web-{0D83004D-57D7-4FED-A144-AD6B3604A91F}" dt="2020-01-15T17:14:22.589" v="990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0D83004D-57D7-4FED-A144-AD6B3604A91F}" dt="2020-01-15T17:14:22.589" v="990" actId="20577"/>
          <ac:spMkLst>
            <pc:docMk/>
            <pc:sldMk cId="3125120265" sldId="557"/>
            <ac:spMk id="14" creationId="{DAACDC37-73F8-46F5-AA87-000E75188D38}"/>
          </ac:spMkLst>
        </pc:spChg>
      </pc:sldChg>
      <pc:sldChg chg="addSp delSp modSp">
        <pc:chgData name="Daniel Amores Alvarez" userId="S::damoresa@everis.com::ff5997fe-a964-45d1-b9c2-852633b5230a" providerId="AD" clId="Web-{0D83004D-57D7-4FED-A144-AD6B3604A91F}" dt="2020-01-15T17:13:42.402" v="984" actId="20577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0D83004D-57D7-4FED-A144-AD6B3604A91F}" dt="2020-01-15T17:13:42.402" v="984" actId="20577"/>
          <ac:spMkLst>
            <pc:docMk/>
            <pc:sldMk cId="1849465173" sldId="560"/>
            <ac:spMk id="3" creationId="{AE9EED95-F57B-422D-8784-B21DCAFEB00C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11:44.356" v="913" actId="20577"/>
          <ac:spMkLst>
            <pc:docMk/>
            <pc:sldMk cId="1849465173" sldId="560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29.908" v="566"/>
          <ac:spMkLst>
            <pc:docMk/>
            <pc:sldMk cId="1849465173" sldId="560"/>
            <ac:spMk id="17" creationId="{B28DACAC-C5B4-4FA2-9AE3-A474659D6BE1}"/>
          </ac:spMkLst>
        </pc:spChg>
        <pc:picChg chg="add del">
          <ac:chgData name="Daniel Amores Alvarez" userId="S::damoresa@everis.com::ff5997fe-a964-45d1-b9c2-852633b5230a" providerId="AD" clId="Web-{0D83004D-57D7-4FED-A144-AD6B3604A91F}" dt="2020-01-15T17:05:39.203" v="677"/>
          <ac:picMkLst>
            <pc:docMk/>
            <pc:sldMk cId="1849465173" sldId="560"/>
            <ac:picMk id="2" creationId="{7F55F897-ECF8-46CD-882C-45FF74FBAEBA}"/>
          </ac:picMkLst>
        </pc:picChg>
      </pc:sldChg>
      <pc:sldChg chg="modSp">
        <pc:chgData name="Daniel Amores Alvarez" userId="S::damoresa@everis.com::ff5997fe-a964-45d1-b9c2-852633b5230a" providerId="AD" clId="Web-{0D83004D-57D7-4FED-A144-AD6B3604A91F}" dt="2020-01-15T17:04:07.860" v="596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0D83004D-57D7-4FED-A144-AD6B3604A91F}" dt="2020-01-15T17:03:46.657" v="581" actId="14100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4:07.860" v="596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3:44.172" v="580" actId="14100"/>
          <ac:spMkLst>
            <pc:docMk/>
            <pc:sldMk cId="3524603006" sldId="562"/>
            <ac:spMk id="9" creationId="{DC1B2ADF-5902-43F8-AB17-7A5E9D974193}"/>
          </ac:spMkLst>
        </pc:spChg>
      </pc:sldChg>
      <pc:sldChg chg="delSp modSp add ord replId">
        <pc:chgData name="Daniel Amores Alvarez" userId="S::damoresa@everis.com::ff5997fe-a964-45d1-b9c2-852633b5230a" providerId="AD" clId="Web-{0D83004D-57D7-4FED-A144-AD6B3604A91F}" dt="2020-01-15T17:01:40.282" v="569"/>
        <pc:sldMkLst>
          <pc:docMk/>
          <pc:sldMk cId="42756512" sldId="563"/>
        </pc:sldMkLst>
        <pc:spChg chg="mod">
          <ac:chgData name="Daniel Amores Alvarez" userId="S::damoresa@everis.com::ff5997fe-a964-45d1-b9c2-852633b5230a" providerId="AD" clId="Web-{0D83004D-57D7-4FED-A144-AD6B3604A91F}" dt="2020-01-15T17:01:37.095" v="568" actId="20577"/>
          <ac:spMkLst>
            <pc:docMk/>
            <pc:sldMk cId="42756512" sldId="563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33.736" v="567"/>
          <ac:spMkLst>
            <pc:docMk/>
            <pc:sldMk cId="42756512" sldId="563"/>
            <ac:spMk id="17" creationId="{B28DACAC-C5B4-4FA2-9AE3-A474659D6BE1}"/>
          </ac:spMkLst>
        </pc:spChg>
      </pc:sldChg>
    </pc:docChg>
  </pc:docChgLst>
  <pc:docChgLst>
    <pc:chgData name="Daniel Amores Alvarez" userId="S::damoresa@everis.com::ff5997fe-a964-45d1-b9c2-852633b5230a" providerId="AD" clId="Web-{7035F42E-DCB8-4C4B-93A1-13FBC26B59FA}"/>
    <pc:docChg chg="modSld">
      <pc:chgData name="Daniel Amores Alvarez" userId="S::damoresa@everis.com::ff5997fe-a964-45d1-b9c2-852633b5230a" providerId="AD" clId="Web-{7035F42E-DCB8-4C4B-93A1-13FBC26B59FA}" dt="2021-01-19T10:19:08.776" v="379" actId="20577"/>
      <pc:docMkLst>
        <pc:docMk/>
      </pc:docMkLst>
      <pc:sldChg chg="modSp">
        <pc:chgData name="Daniel Amores Alvarez" userId="S::damoresa@everis.com::ff5997fe-a964-45d1-b9c2-852633b5230a" providerId="AD" clId="Web-{7035F42E-DCB8-4C4B-93A1-13FBC26B59FA}" dt="2021-01-19T10:19:08.776" v="379" actId="20577"/>
        <pc:sldMkLst>
          <pc:docMk/>
          <pc:sldMk cId="667787940" sldId="608"/>
        </pc:sldMkLst>
        <pc:spChg chg="mod">
          <ac:chgData name="Daniel Amores Alvarez" userId="S::damoresa@everis.com::ff5997fe-a964-45d1-b9c2-852633b5230a" providerId="AD" clId="Web-{7035F42E-DCB8-4C4B-93A1-13FBC26B59FA}" dt="2021-01-19T10:19:08.776" v="379" actId="20577"/>
          <ac:spMkLst>
            <pc:docMk/>
            <pc:sldMk cId="667787940" sldId="608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6A5C41F4-D5CE-41A0-A38B-FB8C862B36B0}"/>
    <pc:docChg chg="addSld modSld modSection">
      <pc:chgData name="Daniel Amores Alvarez" userId="S::damoresa@everis.com::ff5997fe-a964-45d1-b9c2-852633b5230a" providerId="AD" clId="Web-{6A5C41F4-D5CE-41A0-A38B-FB8C862B36B0}" dt="2020-01-14T21:49:13.632" v="1604" actId="20577"/>
      <pc:docMkLst>
        <pc:docMk/>
      </pc:docMkLst>
      <pc:sldChg chg="modSp">
        <pc:chgData name="Daniel Amores Alvarez" userId="S::damoresa@everis.com::ff5997fe-a964-45d1-b9c2-852633b5230a" providerId="AD" clId="Web-{6A5C41F4-D5CE-41A0-A38B-FB8C862B36B0}" dt="2020-01-14T21:48:54.226" v="1549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6A5C41F4-D5CE-41A0-A38B-FB8C862B36B0}" dt="2020-01-14T21:48:54.226" v="154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6:14.934" v="910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6A5C41F4-D5CE-41A0-A38B-FB8C862B36B0}" dt="2020-01-14T21:36:14.934" v="910" actId="20577"/>
          <ac:spMkLst>
            <pc:docMk/>
            <pc:sldMk cId="1791240125" sldId="542"/>
            <ac:spMk id="16" creationId="{6909A535-8C53-4A37-B3E0-FC6F7A28423E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7:28.027" v="1017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6A5C41F4-D5CE-41A0-A38B-FB8C862B36B0}" dt="2020-01-14T21:37:28.027" v="1017" actId="20577"/>
          <ac:spMkLst>
            <pc:docMk/>
            <pc:sldMk cId="2086390204" sldId="543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8:48.820" v="1543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6A5C41F4-D5CE-41A0-A38B-FB8C862B36B0}" dt="2020-01-14T21:48:48.820" v="1543" actId="20577"/>
          <ac:spMkLst>
            <pc:docMk/>
            <pc:sldMk cId="1819518269" sldId="544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5:50.632" v="135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A5C41F4-D5CE-41A0-A38B-FB8C862B36B0}" dt="2020-01-14T21:45:50.632" v="135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13.632" v="1603" actId="20577"/>
        <pc:sldMkLst>
          <pc:docMk/>
          <pc:sldMk cId="588513800" sldId="546"/>
        </pc:sldMkLst>
        <pc:spChg chg="mod">
          <ac:chgData name="Daniel Amores Alvarez" userId="S::damoresa@everis.com::ff5997fe-a964-45d1-b9c2-852633b5230a" providerId="AD" clId="Web-{6A5C41F4-D5CE-41A0-A38B-FB8C862B36B0}" dt="2020-01-14T21:49:13.632" v="1603" actId="20577"/>
          <ac:spMkLst>
            <pc:docMk/>
            <pc:sldMk cId="588513800" sldId="54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1.289" v="1573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A5C41F4-D5CE-41A0-A38B-FB8C862B36B0}" dt="2020-01-14T21:49:01.289" v="1573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8.148" v="1579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A5C41F4-D5CE-41A0-A38B-FB8C862B36B0}" dt="2020-01-14T21:49:08.148" v="1579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6:02.273" v="1413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A5C41F4-D5CE-41A0-A38B-FB8C862B36B0}" dt="2020-01-14T21:46:02.273" v="1413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addSp modSp">
        <pc:chgData name="Daniel Amores Alvarez" userId="S::damoresa@everis.com::ff5997fe-a964-45d1-b9c2-852633b5230a" providerId="AD" clId="Web-{6A5C41F4-D5CE-41A0-A38B-FB8C862B36B0}" dt="2020-01-14T21:48:36.367" v="1535" actId="20577"/>
        <pc:sldMkLst>
          <pc:docMk/>
          <pc:sldMk cId="4162823876" sldId="551"/>
        </pc:sldMkLst>
        <pc:spChg chg="add mod">
          <ac:chgData name="Daniel Amores Alvarez" userId="S::damoresa@everis.com::ff5997fe-a964-45d1-b9c2-852633b5230a" providerId="AD" clId="Web-{6A5C41F4-D5CE-41A0-A38B-FB8C862B36B0}" dt="2020-01-14T21:48:36.367" v="1535" actId="20577"/>
          <ac:spMkLst>
            <pc:docMk/>
            <pc:sldMk cId="4162823876" sldId="551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8:32.711" v="1532" actId="20577"/>
          <ac:spMkLst>
            <pc:docMk/>
            <pc:sldMk cId="4162823876" sldId="55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5:53.960" v="1380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A5C41F4-D5CE-41A0-A38B-FB8C862B36B0}" dt="2020-01-14T21:48:09.147" v="1499"/>
        <pc:sldMkLst>
          <pc:docMk/>
          <pc:sldMk cId="2728398026" sldId="556"/>
        </pc:sldMkLst>
      </pc:sldChg>
    </pc:docChg>
  </pc:docChgLst>
  <pc:docChgLst>
    <pc:chgData name="Daniel Amores Alvarez" userId="S::damoresa@everis.com::ff5997fe-a964-45d1-b9c2-852633b5230a" providerId="AD" clId="Web-{E8A0F7B0-1C65-4C76-B48C-9E2D56768FD7}"/>
    <pc:docChg chg="modSld">
      <pc:chgData name="Daniel Amores Alvarez" userId="S::damoresa@everis.com::ff5997fe-a964-45d1-b9c2-852633b5230a" providerId="AD" clId="Web-{E8A0F7B0-1C65-4C76-B48C-9E2D56768FD7}" dt="2021-01-19T09:10:42.756" v="84" actId="20577"/>
      <pc:docMkLst>
        <pc:docMk/>
      </pc:docMkLst>
      <pc:sldChg chg="modSp">
        <pc:chgData name="Daniel Amores Alvarez" userId="S::damoresa@everis.com::ff5997fe-a964-45d1-b9c2-852633b5230a" providerId="AD" clId="Web-{E8A0F7B0-1C65-4C76-B48C-9E2D56768FD7}" dt="2021-01-19T09:10:42.756" v="84" actId="20577"/>
        <pc:sldMkLst>
          <pc:docMk/>
          <pc:sldMk cId="667787940" sldId="608"/>
        </pc:sldMkLst>
        <pc:spChg chg="mod">
          <ac:chgData name="Daniel Amores Alvarez" userId="S::damoresa@everis.com::ff5997fe-a964-45d1-b9c2-852633b5230a" providerId="AD" clId="Web-{E8A0F7B0-1C65-4C76-B48C-9E2D56768FD7}" dt="2021-01-19T09:10:42.756" v="84" actId="20577"/>
          <ac:spMkLst>
            <pc:docMk/>
            <pc:sldMk cId="667787940" sldId="608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55683CF2-F3C1-4A71-BB33-396774E5B4D1}"/>
    <pc:docChg chg="modSld">
      <pc:chgData name="Daniel Amores Alvarez" userId="S::damoresa@everis.com::ff5997fe-a964-45d1-b9c2-852633b5230a" providerId="AD" clId="Web-{55683CF2-F3C1-4A71-BB33-396774E5B4D1}" dt="2020-01-14T21:21:02.410" v="12" actId="20577"/>
      <pc:docMkLst>
        <pc:docMk/>
      </pc:docMkLst>
      <pc:sldChg chg="modSp">
        <pc:chgData name="Daniel Amores Alvarez" userId="S::damoresa@everis.com::ff5997fe-a964-45d1-b9c2-852633b5230a" providerId="AD" clId="Web-{55683CF2-F3C1-4A71-BB33-396774E5B4D1}" dt="2020-01-14T21:21:02.410" v="12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55683CF2-F3C1-4A71-BB33-396774E5B4D1}" dt="2020-01-14T21:21:02.410" v="12" actId="20577"/>
          <ac:spMkLst>
            <pc:docMk/>
            <pc:sldMk cId="2086390204" sldId="543"/>
            <ac:spMk id="15" creationId="{7BD50C13-A712-406E-8E16-C9230DE49BA2}"/>
          </ac:spMkLst>
        </pc:spChg>
      </pc:sldChg>
    </pc:docChg>
  </pc:docChgLst>
  <pc:docChgLst>
    <pc:chgData name="Jordi Gil Nieto" userId="dc92af6d-8bfc-4cf9-a920-242e8fde7056" providerId="ADAL" clId="{6FC6E936-F934-4CAF-9978-4FF4914385E3}"/>
    <pc:docChg chg="undo redo custSel addSld delSld modSld sldOrd modSection">
      <pc:chgData name="Jordi Gil Nieto" userId="dc92af6d-8bfc-4cf9-a920-242e8fde7056" providerId="ADAL" clId="{6FC6E936-F934-4CAF-9978-4FF4914385E3}" dt="2019-05-14T20:13:59.391" v="4186" actId="313"/>
      <pc:docMkLst>
        <pc:docMk/>
      </pc:docMkLst>
      <pc:sldChg chg="modSp">
        <pc:chgData name="Jordi Gil Nieto" userId="dc92af6d-8bfc-4cf9-a920-242e8fde7056" providerId="ADAL" clId="{6FC6E936-F934-4CAF-9978-4FF4914385E3}" dt="2019-04-04T10:31:27.642" v="4159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6FC6E936-F934-4CAF-9978-4FF4914385E3}" dt="2019-04-04T10:31:27.642" v="415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addSp delSp modSp">
        <pc:chgData name="Jordi Gil Nieto" userId="dc92af6d-8bfc-4cf9-a920-242e8fde7056" providerId="ADAL" clId="{6FC6E936-F934-4CAF-9978-4FF4914385E3}" dt="2019-04-01T16:03:10.022" v="215" actId="14100"/>
        <pc:sldMkLst>
          <pc:docMk/>
          <pc:sldMk cId="1863133937" sldId="477"/>
        </pc:sldMkLst>
        <pc:spChg chg="add del">
          <ac:chgData name="Jordi Gil Nieto" userId="dc92af6d-8bfc-4cf9-a920-242e8fde7056" providerId="ADAL" clId="{6FC6E936-F934-4CAF-9978-4FF4914385E3}" dt="2019-04-01T15:50:39.189" v="79"/>
          <ac:spMkLst>
            <pc:docMk/>
            <pc:sldMk cId="1863133937" sldId="477"/>
            <ac:spMk id="2" creationId="{A95A7D2D-5DA1-4AD9-A176-41888A6E0AEE}"/>
          </ac:spMkLst>
        </pc:spChg>
        <pc:spChg chg="mod">
          <ac:chgData name="Jordi Gil Nieto" userId="dc92af6d-8bfc-4cf9-a920-242e8fde7056" providerId="ADAL" clId="{6FC6E936-F934-4CAF-9978-4FF4914385E3}" dt="2019-04-01T15:46:30.643" v="30" actId="403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5:48:08.959" v="75" actId="20577"/>
          <ac:spMkLst>
            <pc:docMk/>
            <pc:sldMk cId="1863133937" sldId="477"/>
            <ac:spMk id="11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1T15:47:28.839" v="66" actId="1036"/>
          <ac:spMkLst>
            <pc:docMk/>
            <pc:sldMk cId="1863133937" sldId="477"/>
            <ac:spMk id="12" creationId="{C0FD4F4F-0130-4D9C-8FD2-DC97ED6CEC02}"/>
          </ac:spMkLst>
        </pc:spChg>
        <pc:spChg chg="mod ord">
          <ac:chgData name="Jordi Gil Nieto" userId="dc92af6d-8bfc-4cf9-a920-242e8fde7056" providerId="ADAL" clId="{6FC6E936-F934-4CAF-9978-4FF4914385E3}" dt="2019-04-01T15:53:54.102" v="95" actId="14100"/>
          <ac:spMkLst>
            <pc:docMk/>
            <pc:sldMk cId="1863133937" sldId="477"/>
            <ac:spMk id="34" creationId="{00000000-0000-0000-0000-000000000000}"/>
          </ac:spMkLst>
        </pc:spChg>
        <pc:picChg chg="ord">
          <ac:chgData name="Jordi Gil Nieto" userId="dc92af6d-8bfc-4cf9-a920-242e8fde7056" providerId="ADAL" clId="{6FC6E936-F934-4CAF-9978-4FF4914385E3}" dt="2019-04-01T15:53:58.635" v="96" actId="166"/>
          <ac:picMkLst>
            <pc:docMk/>
            <pc:sldMk cId="1863133937" sldId="477"/>
            <ac:picMk id="18" creationId="{00000000-0000-0000-0000-000000000000}"/>
          </ac:picMkLst>
        </pc:picChg>
        <pc:picChg chg="del">
          <ac:chgData name="Jordi Gil Nieto" userId="dc92af6d-8bfc-4cf9-a920-242e8fde7056" providerId="ADAL" clId="{6FC6E936-F934-4CAF-9978-4FF4914385E3}" dt="2019-04-01T15:50:37.576" v="77" actId="478"/>
          <ac:picMkLst>
            <pc:docMk/>
            <pc:sldMk cId="1863133937" sldId="477"/>
            <ac:picMk id="19" creationId="{00000000-0000-0000-0000-000000000000}"/>
          </ac:picMkLst>
        </pc:picChg>
        <pc:picChg chg="add del mod">
          <ac:chgData name="Jordi Gil Nieto" userId="dc92af6d-8bfc-4cf9-a920-242e8fde7056" providerId="ADAL" clId="{6FC6E936-F934-4CAF-9978-4FF4914385E3}" dt="2019-04-01T15:52:10.478" v="88" actId="478"/>
          <ac:picMkLst>
            <pc:docMk/>
            <pc:sldMk cId="1863133937" sldId="477"/>
            <ac:picMk id="167938" creationId="{7311582A-0C44-4DBC-A339-BE8B75F2BE07}"/>
          </ac:picMkLst>
        </pc:picChg>
        <pc:picChg chg="add mod">
          <ac:chgData name="Jordi Gil Nieto" userId="dc92af6d-8bfc-4cf9-a920-242e8fde7056" providerId="ADAL" clId="{6FC6E936-F934-4CAF-9978-4FF4914385E3}" dt="2019-04-01T16:03:10.022" v="215" actId="14100"/>
          <ac:picMkLst>
            <pc:docMk/>
            <pc:sldMk cId="1863133937" sldId="477"/>
            <ac:picMk id="167940" creationId="{628D59FA-6D57-409B-A299-ECE5E00D026D}"/>
          </ac:picMkLst>
        </pc:picChg>
      </pc:sldChg>
      <pc:sldChg chg="addSp delSp modSp add del modNotesTx">
        <pc:chgData name="Jordi Gil Nieto" userId="dc92af6d-8bfc-4cf9-a920-242e8fde7056" providerId="ADAL" clId="{6FC6E936-F934-4CAF-9978-4FF4914385E3}" dt="2019-04-04T07:45:10.966" v="2878" actId="14100"/>
        <pc:sldMkLst>
          <pc:docMk/>
          <pc:sldMk cId="1842254415" sldId="479"/>
        </pc:sldMkLst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5" creationId="{00000000-0000-0000-0000-000000000000}"/>
          </ac:spMkLst>
        </pc:spChg>
        <pc:spChg chg="del mod">
          <ac:chgData name="Jordi Gil Nieto" userId="dc92af6d-8bfc-4cf9-a920-242e8fde7056" providerId="ADAL" clId="{6FC6E936-F934-4CAF-9978-4FF4914385E3}" dt="2019-04-01T16:11:05.848" v="245" actId="478"/>
          <ac:spMkLst>
            <pc:docMk/>
            <pc:sldMk cId="1842254415" sldId="479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08.542" v="2877" actId="14100"/>
          <ac:spMkLst>
            <pc:docMk/>
            <pc:sldMk cId="1842254415" sldId="479"/>
            <ac:spMk id="14" creationId="{CB0A08ED-C39A-4C5D-AF67-3044D0597F0B}"/>
          </ac:spMkLst>
        </pc:spChg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10.966" v="2878" actId="14100"/>
          <ac:spMkLst>
            <pc:docMk/>
            <pc:sldMk cId="1842254415" sldId="479"/>
            <ac:spMk id="15" creationId="{A1C9E2B1-E5FD-4A82-AFA4-2661CE1058B7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10:56.592" v="242" actId="20577"/>
          <ac:spMkLst>
            <pc:docMk/>
            <pc:sldMk cId="1842254415" sldId="479"/>
            <ac:spMk id="46" creationId="{00000000-0000-0000-0000-000000000000}"/>
          </ac:spMkLst>
        </pc:spChg>
        <pc:spChg chg="add del">
          <ac:chgData name="Jordi Gil Nieto" userId="dc92af6d-8bfc-4cf9-a920-242e8fde7056" providerId="ADAL" clId="{6FC6E936-F934-4CAF-9978-4FF4914385E3}" dt="2019-04-01T16:11:00.568" v="243" actId="478"/>
          <ac:spMkLst>
            <pc:docMk/>
            <pc:sldMk cId="1842254415" sldId="479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32:51.321" v="2503" actId="1076"/>
          <ac:picMkLst>
            <pc:docMk/>
            <pc:sldMk cId="1842254415" sldId="479"/>
            <ac:picMk id="50" creationId="{7C7095C4-E528-4401-9A35-152B5045531C}"/>
          </ac:picMkLst>
        </pc:pic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9" creationId="{00000000-0000-0000-0000-000000000000}"/>
          </ac:cxnSpMkLst>
        </pc:cxnChg>
      </pc:sldChg>
      <pc:sldChg chg="addSp delSp modSp add ord modNotesTx">
        <pc:chgData name="Jordi Gil Nieto" userId="dc92af6d-8bfc-4cf9-a920-242e8fde7056" providerId="ADAL" clId="{6FC6E936-F934-4CAF-9978-4FF4914385E3}" dt="2019-04-04T10:12:44.654" v="3555" actId="6549"/>
        <pc:sldMkLst>
          <pc:docMk/>
          <pc:sldMk cId="1538420332" sldId="523"/>
        </pc:sldMkLst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4T10:12:44.654" v="3555" actId="6549"/>
          <ac:spMkLst>
            <pc:docMk/>
            <pc:sldMk cId="1538420332" sldId="523"/>
            <ac:spMk id="1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10:29.112" v="3550" actId="1037"/>
          <ac:spMkLst>
            <pc:docMk/>
            <pc:sldMk cId="1538420332" sldId="523"/>
            <ac:spMk id="15" creationId="{429F197A-0B1D-4920-A1B8-27689A181D6B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24.784" v="262" actId="20577"/>
          <ac:spMkLst>
            <pc:docMk/>
            <pc:sldMk cId="1538420332" sldId="523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43.425" v="266" actId="20577"/>
          <ac:spMkLst>
            <pc:docMk/>
            <pc:sldMk cId="1538420332" sldId="523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1T16:24:08.781" v="344" actId="14100"/>
          <ac:picMkLst>
            <pc:docMk/>
            <pc:sldMk cId="1538420332" sldId="523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4T10:11:30.371" v="3553" actId="1076"/>
          <ac:picMkLst>
            <pc:docMk/>
            <pc:sldMk cId="1538420332" sldId="523"/>
            <ac:picMk id="10246" creationId="{A7A28465-34C0-4930-A314-84824DD7F490}"/>
          </ac:picMkLst>
        </pc:pic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9" creationId="{00000000-0000-0000-0000-000000000000}"/>
          </ac:cxnSpMkLst>
        </pc:cxnChg>
      </pc:sldChg>
      <pc:sldChg chg="addSp delSp modSp add modNotesTx">
        <pc:chgData name="Jordi Gil Nieto" userId="dc92af6d-8bfc-4cf9-a920-242e8fde7056" providerId="ADAL" clId="{6FC6E936-F934-4CAF-9978-4FF4914385E3}" dt="2019-04-04T10:15:07.505" v="3557" actId="478"/>
        <pc:sldMkLst>
          <pc:docMk/>
          <pc:sldMk cId="2825012662" sldId="524"/>
        </pc:sldMkLst>
        <pc:spChg chg="add mod">
          <ac:chgData name="Jordi Gil Nieto" userId="dc92af6d-8bfc-4cf9-a920-242e8fde7056" providerId="ADAL" clId="{6FC6E936-F934-4CAF-9978-4FF4914385E3}" dt="2019-04-04T10:08:58.570" v="3493" actId="692"/>
          <ac:spMkLst>
            <pc:docMk/>
            <pc:sldMk cId="2825012662" sldId="524"/>
            <ac:spMk id="2" creationId="{93037DD5-102E-4D32-9439-91DA2FEDD037}"/>
          </ac:spMkLst>
        </pc:spChg>
        <pc:spChg chg="mod">
          <ac:chgData name="Jordi Gil Nieto" userId="dc92af6d-8bfc-4cf9-a920-242e8fde7056" providerId="ADAL" clId="{6FC6E936-F934-4CAF-9978-4FF4914385E3}" dt="2019-04-04T08:15:48.597" v="3317" actId="20577"/>
          <ac:spMkLst>
            <pc:docMk/>
            <pc:sldMk cId="2825012662" sldId="524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4:48.130" v="371" actId="20577"/>
          <ac:spMkLst>
            <pc:docMk/>
            <pc:sldMk cId="2825012662" sldId="524"/>
            <ac:spMk id="47" creationId="{00000000-0000-0000-0000-000000000000}"/>
          </ac:spMkLst>
        </pc:spChg>
        <pc:picChg chg="add del mod ord">
          <ac:chgData name="Jordi Gil Nieto" userId="dc92af6d-8bfc-4cf9-a920-242e8fde7056" providerId="ADAL" clId="{6FC6E936-F934-4CAF-9978-4FF4914385E3}" dt="2019-04-04T10:15:07.505" v="3557" actId="478"/>
          <ac:picMkLst>
            <pc:docMk/>
            <pc:sldMk cId="2825012662" sldId="524"/>
            <ac:picMk id="4" creationId="{5914F587-D02F-4BC8-8089-F9A44428A221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7:49.854" v="4010" actId="1036"/>
        <pc:sldMkLst>
          <pc:docMk/>
          <pc:sldMk cId="2976379869" sldId="525"/>
        </pc:sldMkLst>
        <pc:spChg chg="add del">
          <ac:chgData name="Jordi Gil Nieto" userId="dc92af6d-8bfc-4cf9-a920-242e8fde7056" providerId="ADAL" clId="{6FC6E936-F934-4CAF-9978-4FF4914385E3}" dt="2019-04-02T09:47:33.726" v="390"/>
          <ac:spMkLst>
            <pc:docMk/>
            <pc:sldMk cId="2976379869" sldId="525"/>
            <ac:spMk id="2" creationId="{C2308E6A-91CA-41A0-BF2B-DDBB91AD872A}"/>
          </ac:spMkLst>
        </pc:spChg>
        <pc:spChg chg="mod">
          <ac:chgData name="Jordi Gil Nieto" userId="dc92af6d-8bfc-4cf9-a920-242e8fde7056" providerId="ADAL" clId="{6FC6E936-F934-4CAF-9978-4FF4914385E3}" dt="2019-04-04T08:17:45.569" v="3328" actId="6549"/>
          <ac:spMkLst>
            <pc:docMk/>
            <pc:sldMk cId="2976379869" sldId="525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49.854" v="4010" actId="1036"/>
          <ac:spMkLst>
            <pc:docMk/>
            <pc:sldMk cId="2976379869" sldId="525"/>
            <ac:spMk id="15" creationId="{2F3C221B-6E34-49DF-9C1F-D3AB16887844}"/>
          </ac:spMkLst>
        </pc:spChg>
        <pc:spChg chg="mod">
          <ac:chgData name="Jordi Gil Nieto" userId="dc92af6d-8bfc-4cf9-a920-242e8fde7056" providerId="ADAL" clId="{6FC6E936-F934-4CAF-9978-4FF4914385E3}" dt="2019-04-02T09:46:12.538" v="383" actId="20577"/>
          <ac:spMkLst>
            <pc:docMk/>
            <pc:sldMk cId="2976379869" sldId="525"/>
            <ac:spMk id="47" creationId="{00000000-0000-0000-0000-000000000000}"/>
          </ac:spMkLst>
        </pc:spChg>
      </pc:sldChg>
      <pc:sldChg chg="addSp delSp modSp add ord modNotesTx">
        <pc:chgData name="Jordi Gil Nieto" userId="dc92af6d-8bfc-4cf9-a920-242e8fde7056" providerId="ADAL" clId="{6FC6E936-F934-4CAF-9978-4FF4914385E3}" dt="2019-04-04T10:25:14.991" v="3897" actId="2711"/>
        <pc:sldMkLst>
          <pc:docMk/>
          <pc:sldMk cId="1619765855" sldId="526"/>
        </pc:sldMkLst>
        <pc:spChg chg="add del mod">
          <ac:chgData name="Jordi Gil Nieto" userId="dc92af6d-8bfc-4cf9-a920-242e8fde7056" providerId="ADAL" clId="{6FC6E936-F934-4CAF-9978-4FF4914385E3}" dt="2019-04-03T11:20:47.063" v="2314" actId="478"/>
          <ac:spMkLst>
            <pc:docMk/>
            <pc:sldMk cId="1619765855" sldId="526"/>
            <ac:spMk id="2" creationId="{77E61A39-178B-45C6-ABDD-14DC466E2652}"/>
          </ac:spMkLst>
        </pc:spChg>
        <pc:spChg chg="mod">
          <ac:chgData name="Jordi Gil Nieto" userId="dc92af6d-8bfc-4cf9-a920-242e8fde7056" providerId="ADAL" clId="{6FC6E936-F934-4CAF-9978-4FF4914385E3}" dt="2019-04-03T10:55:05.112" v="2310" actId="6549"/>
          <ac:spMkLst>
            <pc:docMk/>
            <pc:sldMk cId="1619765855" sldId="526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1:36.969" v="3827" actId="1038"/>
          <ac:spMkLst>
            <pc:docMk/>
            <pc:sldMk cId="1619765855" sldId="526"/>
            <ac:spMk id="15" creationId="{261104D0-42AF-477F-9800-28EAA79E7FD4}"/>
          </ac:spMkLst>
        </pc:spChg>
        <pc:spChg chg="mod">
          <ac:chgData name="Jordi Gil Nieto" userId="dc92af6d-8bfc-4cf9-a920-242e8fde7056" providerId="ADAL" clId="{6FC6E936-F934-4CAF-9978-4FF4914385E3}" dt="2019-04-02T09:47:43.363" v="409" actId="20577"/>
          <ac:spMkLst>
            <pc:docMk/>
            <pc:sldMk cId="1619765855" sldId="526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5:14.991" v="3897" actId="2711"/>
          <ac:graphicFrameMkLst>
            <pc:docMk/>
            <pc:sldMk cId="1619765855" sldId="526"/>
            <ac:graphicFrameMk id="2" creationId="{2BC5B246-683D-49FA-8D6E-08518939B303}"/>
          </ac:graphicFrameMkLst>
        </pc:graphicFrameChg>
        <pc:picChg chg="mod">
          <ac:chgData name="Jordi Gil Nieto" userId="dc92af6d-8bfc-4cf9-a920-242e8fde7056" providerId="ADAL" clId="{6FC6E936-F934-4CAF-9978-4FF4914385E3}" dt="2019-04-04T10:21:29.098" v="3819" actId="1076"/>
          <ac:picMkLst>
            <pc:docMk/>
            <pc:sldMk cId="1619765855" sldId="526"/>
            <ac:picMk id="50" creationId="{7CA49931-9674-4450-8D00-638F7CF501AB}"/>
          </ac:picMkLst>
        </pc:picChg>
      </pc:sldChg>
      <pc:sldChg chg="addSp modSp add modNotesTx">
        <pc:chgData name="Jordi Gil Nieto" userId="dc92af6d-8bfc-4cf9-a920-242e8fde7056" providerId="ADAL" clId="{6FC6E936-F934-4CAF-9978-4FF4914385E3}" dt="2019-04-04T10:28:14.068" v="4072" actId="14100"/>
        <pc:sldMkLst>
          <pc:docMk/>
          <pc:sldMk cId="436621792" sldId="527"/>
        </pc:sldMkLst>
        <pc:spChg chg="mod">
          <ac:chgData name="Jordi Gil Nieto" userId="dc92af6d-8bfc-4cf9-a920-242e8fde7056" providerId="ADAL" clId="{6FC6E936-F934-4CAF-9978-4FF4914385E3}" dt="2019-04-04T08:18:58.597" v="3331" actId="113"/>
          <ac:spMkLst>
            <pc:docMk/>
            <pc:sldMk cId="436621792" sldId="527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14.068" v="4072" actId="14100"/>
          <ac:spMkLst>
            <pc:docMk/>
            <pc:sldMk cId="436621792" sldId="527"/>
            <ac:spMk id="16" creationId="{CC92E59F-3194-41F2-BFB2-31A5DEB438B6}"/>
          </ac:spMkLst>
        </pc:spChg>
        <pc:spChg chg="mod">
          <ac:chgData name="Jordi Gil Nieto" userId="dc92af6d-8bfc-4cf9-a920-242e8fde7056" providerId="ADAL" clId="{6FC6E936-F934-4CAF-9978-4FF4914385E3}" dt="2019-04-02T09:48:49.187" v="420" actId="20577"/>
          <ac:spMkLst>
            <pc:docMk/>
            <pc:sldMk cId="436621792" sldId="527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9:06.236" v="429" actId="20577"/>
          <ac:spMkLst>
            <pc:docMk/>
            <pc:sldMk cId="436621792" sldId="527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2T09:50:25.820" v="435" actId="14100"/>
          <ac:picMkLst>
            <pc:docMk/>
            <pc:sldMk cId="436621792" sldId="527"/>
            <ac:picMk id="3" creationId="{590DCD8B-426F-44F3-9E6D-6C9995ECD8F3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8:22.267" v="4082" actId="1036"/>
        <pc:sldMkLst>
          <pc:docMk/>
          <pc:sldMk cId="3764660779" sldId="528"/>
        </pc:sldMkLst>
        <pc:spChg chg="mod">
          <ac:chgData name="Jordi Gil Nieto" userId="dc92af6d-8bfc-4cf9-a920-242e8fde7056" providerId="ADAL" clId="{6FC6E936-F934-4CAF-9978-4FF4914385E3}" dt="2019-04-02T10:35:48.125" v="1335" actId="113"/>
          <ac:spMkLst>
            <pc:docMk/>
            <pc:sldMk cId="3764660779" sldId="528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22.267" v="4082" actId="1036"/>
          <ac:spMkLst>
            <pc:docMk/>
            <pc:sldMk cId="3764660779" sldId="528"/>
            <ac:spMk id="16" creationId="{DD995DFD-2DAC-4E05-96CC-54E41CD7DB0B}"/>
          </ac:spMkLst>
        </pc:spChg>
        <pc:spChg chg="mod">
          <ac:chgData name="Jordi Gil Nieto" userId="dc92af6d-8bfc-4cf9-a920-242e8fde7056" providerId="ADAL" clId="{6FC6E936-F934-4CAF-9978-4FF4914385E3}" dt="2019-04-02T09:50:51.875" v="449" actId="20577"/>
          <ac:spMkLst>
            <pc:docMk/>
            <pc:sldMk cId="3764660779" sldId="528"/>
            <ac:spMk id="47" creationId="{00000000-0000-0000-0000-000000000000}"/>
          </ac:spMkLst>
        </pc:spChg>
        <pc:picChg chg="del">
          <ac:chgData name="Jordi Gil Nieto" userId="dc92af6d-8bfc-4cf9-a920-242e8fde7056" providerId="ADAL" clId="{6FC6E936-F934-4CAF-9978-4FF4914385E3}" dt="2019-04-02T09:50:42.914" v="437" actId="478"/>
          <ac:picMkLst>
            <pc:docMk/>
            <pc:sldMk cId="3764660779" sldId="528"/>
            <ac:picMk id="3" creationId="{590DCD8B-426F-44F3-9E6D-6C9995ECD8F3}"/>
          </ac:picMkLst>
        </pc:picChg>
        <pc:picChg chg="add mod">
          <ac:chgData name="Jordi Gil Nieto" userId="dc92af6d-8bfc-4cf9-a920-242e8fde7056" providerId="ADAL" clId="{6FC6E936-F934-4CAF-9978-4FF4914385E3}" dt="2019-04-03T11:27:13.690" v="2440" actId="1076"/>
          <ac:picMkLst>
            <pc:docMk/>
            <pc:sldMk cId="3764660779" sldId="528"/>
            <ac:picMk id="15" creationId="{53237A3E-08BC-4CD3-BBF2-2FEB876D40C2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17T09:53:57.221" v="4185" actId="5793"/>
        <pc:sldMkLst>
          <pc:docMk/>
          <pc:sldMk cId="1800423798" sldId="529"/>
        </pc:sldMkLst>
        <pc:spChg chg="mod">
          <ac:chgData name="Jordi Gil Nieto" userId="dc92af6d-8bfc-4cf9-a920-242e8fde7056" providerId="ADAL" clId="{6FC6E936-F934-4CAF-9978-4FF4914385E3}" dt="2019-04-04T10:28:34.854" v="4084" actId="255"/>
          <ac:spMkLst>
            <pc:docMk/>
            <pc:sldMk cId="1800423798" sldId="529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58:23.690" v="501" actId="20577"/>
          <ac:spMkLst>
            <pc:docMk/>
            <pc:sldMk cId="1800423798" sldId="529"/>
            <ac:spMk id="4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2T09:58:36.460" v="504" actId="478"/>
          <ac:spMkLst>
            <pc:docMk/>
            <pc:sldMk cId="1800423798" sldId="529"/>
            <ac:spMk id="47" creationId="{00000000-0000-0000-0000-000000000000}"/>
          </ac:spMkLst>
        </pc:spChg>
        <pc:grpChg chg="add del">
          <ac:chgData name="Jordi Gil Nieto" userId="dc92af6d-8bfc-4cf9-a920-242e8fde7056" providerId="ADAL" clId="{6FC6E936-F934-4CAF-9978-4FF4914385E3}" dt="2019-04-02T09:58:33.618" v="503" actId="478"/>
          <ac:grpSpMkLst>
            <pc:docMk/>
            <pc:sldMk cId="1800423798" sldId="529"/>
            <ac:grpSpMk id="25" creationId="{00000000-0000-0000-0000-000000000000}"/>
          </ac:grpSpMkLst>
        </pc:grpChg>
        <pc:picChg chg="del">
          <ac:chgData name="Jordi Gil Nieto" userId="dc92af6d-8bfc-4cf9-a920-242e8fde7056" providerId="ADAL" clId="{6FC6E936-F934-4CAF-9978-4FF4914385E3}" dt="2019-04-02T09:58:38.260" v="505" actId="478"/>
          <ac:picMkLst>
            <pc:docMk/>
            <pc:sldMk cId="1800423798" sldId="529"/>
            <ac:picMk id="50" creationId="{7CA49931-9674-4450-8D00-638F7CF501AB}"/>
          </ac:picMkLst>
        </pc:picChg>
      </pc:sldChg>
      <pc:sldChg chg="addSp modSp add ord">
        <pc:chgData name="Jordi Gil Nieto" userId="dc92af6d-8bfc-4cf9-a920-242e8fde7056" providerId="ADAL" clId="{6FC6E936-F934-4CAF-9978-4FF4914385E3}" dt="2019-05-14T20:13:59.391" v="4186" actId="313"/>
        <pc:sldMkLst>
          <pc:docMk/>
          <pc:sldMk cId="2965529254" sldId="530"/>
        </pc:sldMkLst>
        <pc:spChg chg="mod">
          <ac:chgData name="Jordi Gil Nieto" userId="dc92af6d-8bfc-4cf9-a920-242e8fde7056" providerId="ADAL" clId="{6FC6E936-F934-4CAF-9978-4FF4914385E3}" dt="2019-05-14T20:13:59.391" v="4186" actId="313"/>
          <ac:spMkLst>
            <pc:docMk/>
            <pc:sldMk cId="2965529254" sldId="530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33.167" v="3926" actId="1037"/>
          <ac:spMkLst>
            <pc:docMk/>
            <pc:sldMk cId="2965529254" sldId="530"/>
            <ac:spMk id="21" creationId="{FDE6DAA6-CD17-44F7-A74B-31777E56FCE3}"/>
          </ac:spMkLst>
        </pc:spChg>
        <pc:spChg chg="mod">
          <ac:chgData name="Jordi Gil Nieto" userId="dc92af6d-8bfc-4cf9-a920-242e8fde7056" providerId="ADAL" clId="{6FC6E936-F934-4CAF-9978-4FF4914385E3}" dt="2019-04-02T10:33:13.948" v="917" actId="20577"/>
          <ac:spMkLst>
            <pc:docMk/>
            <pc:sldMk cId="2965529254" sldId="530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41:09.439" v="2726" actId="1076"/>
          <ac:picMkLst>
            <pc:docMk/>
            <pc:sldMk cId="2965529254" sldId="530"/>
            <ac:picMk id="9221" creationId="{F3F1DF60-EAE6-40E7-AB60-0239CFA26518}"/>
          </ac:picMkLst>
        </pc:picChg>
        <pc:picChg chg="add mod">
          <ac:chgData name="Jordi Gil Nieto" userId="dc92af6d-8bfc-4cf9-a920-242e8fde7056" providerId="ADAL" clId="{6FC6E936-F934-4CAF-9978-4FF4914385E3}" dt="2019-04-04T07:41:31.321" v="2731" actId="1076"/>
          <ac:picMkLst>
            <pc:docMk/>
            <pc:sldMk cId="2965529254" sldId="530"/>
            <ac:picMk id="9223" creationId="{368B3310-D086-4249-82D0-C462F01A6198}"/>
          </ac:picMkLst>
        </pc:picChg>
        <pc:picChg chg="add mod">
          <ac:chgData name="Jordi Gil Nieto" userId="dc92af6d-8bfc-4cf9-a920-242e8fde7056" providerId="ADAL" clId="{6FC6E936-F934-4CAF-9978-4FF4914385E3}" dt="2019-04-04T07:41:46.547" v="2734" actId="1076"/>
          <ac:picMkLst>
            <pc:docMk/>
            <pc:sldMk cId="2965529254" sldId="530"/>
            <ac:picMk id="9225" creationId="{E65C42FC-9183-410D-8BB7-4EAE1B6CF483}"/>
          </ac:picMkLst>
        </pc:picChg>
        <pc:picChg chg="add mod">
          <ac:chgData name="Jordi Gil Nieto" userId="dc92af6d-8bfc-4cf9-a920-242e8fde7056" providerId="ADAL" clId="{6FC6E936-F934-4CAF-9978-4FF4914385E3}" dt="2019-04-04T07:42:08.957" v="2737" actId="1076"/>
          <ac:picMkLst>
            <pc:docMk/>
            <pc:sldMk cId="2965529254" sldId="530"/>
            <ac:picMk id="9227" creationId="{9AA70BB7-C076-4936-BDA0-C2BD40E9E960}"/>
          </ac:picMkLst>
        </pc:picChg>
        <pc:picChg chg="add mod">
          <ac:chgData name="Jordi Gil Nieto" userId="dc92af6d-8bfc-4cf9-a920-242e8fde7056" providerId="ADAL" clId="{6FC6E936-F934-4CAF-9978-4FF4914385E3}" dt="2019-04-04T07:42:41.062" v="2745" actId="14100"/>
          <ac:picMkLst>
            <pc:docMk/>
            <pc:sldMk cId="2965529254" sldId="530"/>
            <ac:picMk id="9229" creationId="{9B0E85C9-343E-48B6-AB5E-6EB9198398C8}"/>
          </ac:picMkLst>
        </pc:picChg>
        <pc:picChg chg="add mod">
          <ac:chgData name="Jordi Gil Nieto" userId="dc92af6d-8bfc-4cf9-a920-242e8fde7056" providerId="ADAL" clId="{6FC6E936-F934-4CAF-9978-4FF4914385E3}" dt="2019-04-04T07:42:42.744" v="2746" actId="1076"/>
          <ac:picMkLst>
            <pc:docMk/>
            <pc:sldMk cId="2965529254" sldId="530"/>
            <ac:picMk id="9231" creationId="{E32F0965-1A01-4EA1-B5AD-4AC6DA21C47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15:55.910" v="3318"/>
        <pc:sldMkLst>
          <pc:docMk/>
          <pc:sldMk cId="616148466" sldId="531"/>
        </pc:sldMkLst>
        <pc:spChg chg="add mod">
          <ac:chgData name="Jordi Gil Nieto" userId="dc92af6d-8bfc-4cf9-a920-242e8fde7056" providerId="ADAL" clId="{6FC6E936-F934-4CAF-9978-4FF4914385E3}" dt="2019-04-03T07:46:24.212" v="2155" actId="20577"/>
          <ac:spMkLst>
            <pc:docMk/>
            <pc:sldMk cId="616148466" sldId="531"/>
            <ac:spMk id="14" creationId="{6CBD4B3D-78A9-46CF-B7B8-8C171B3F1943}"/>
          </ac:spMkLst>
        </pc:spChg>
        <pc:spChg chg="add mod">
          <ac:chgData name="Jordi Gil Nieto" userId="dc92af6d-8bfc-4cf9-a920-242e8fde7056" providerId="ADAL" clId="{6FC6E936-F934-4CAF-9978-4FF4914385E3}" dt="2019-04-04T08:11:53.766" v="3292" actId="255"/>
          <ac:spMkLst>
            <pc:docMk/>
            <pc:sldMk cId="616148466" sldId="531"/>
            <ac:spMk id="15" creationId="{7BD50C13-A712-406E-8E16-C9230DE49BA2}"/>
          </ac:spMkLst>
        </pc:spChg>
        <pc:picChg chg="del">
          <ac:chgData name="Jordi Gil Nieto" userId="dc92af6d-8bfc-4cf9-a920-242e8fde7056" providerId="ADAL" clId="{6FC6E936-F934-4CAF-9978-4FF4914385E3}" dt="2019-04-03T07:46:15.298" v="2137" actId="478"/>
          <ac:picMkLst>
            <pc:docMk/>
            <pc:sldMk cId="616148466" sldId="531"/>
            <ac:picMk id="50" creationId="{7C7095C4-E528-4401-9A35-152B5045531C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3T10:37:29.071" v="2296" actId="113"/>
        <pc:sldMkLst>
          <pc:docMk/>
          <pc:sldMk cId="2267118212" sldId="532"/>
        </pc:sldMkLst>
        <pc:spChg chg="del">
          <ac:chgData name="Jordi Gil Nieto" userId="dc92af6d-8bfc-4cf9-a920-242e8fde7056" providerId="ADAL" clId="{6FC6E936-F934-4CAF-9978-4FF4914385E3}" dt="2019-04-03T09:25:37.095" v="2206" actId="478"/>
          <ac:spMkLst>
            <pc:docMk/>
            <pc:sldMk cId="2267118212" sldId="532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09:27:24.574" v="2246" actId="20577"/>
          <ac:spMkLst>
            <pc:docMk/>
            <pc:sldMk cId="2267118212" sldId="532"/>
            <ac:spMk id="15" creationId="{0E4CD64F-7A5A-43CC-9992-EE3101A0FFF8}"/>
          </ac:spMkLst>
        </pc:spChg>
        <pc:spChg chg="add mod">
          <ac:chgData name="Jordi Gil Nieto" userId="dc92af6d-8bfc-4cf9-a920-242e8fde7056" providerId="ADAL" clId="{6FC6E936-F934-4CAF-9978-4FF4914385E3}" dt="2019-04-03T10:37:11.055" v="2291" actId="207"/>
          <ac:spMkLst>
            <pc:docMk/>
            <pc:sldMk cId="2267118212" sldId="532"/>
            <ac:spMk id="17" creationId="{814B81A0-84F4-44D7-9026-05C2E94B84A5}"/>
          </ac:spMkLst>
        </pc:spChg>
        <pc:spChg chg="add mod">
          <ac:chgData name="Jordi Gil Nieto" userId="dc92af6d-8bfc-4cf9-a920-242e8fde7056" providerId="ADAL" clId="{6FC6E936-F934-4CAF-9978-4FF4914385E3}" dt="2019-04-03T10:37:21.836" v="2294" actId="113"/>
          <ac:spMkLst>
            <pc:docMk/>
            <pc:sldMk cId="2267118212" sldId="532"/>
            <ac:spMk id="18" creationId="{AE7CA193-1540-45EC-BF0C-8C048C5C7FE3}"/>
          </ac:spMkLst>
        </pc:spChg>
        <pc:spChg chg="add mod">
          <ac:chgData name="Jordi Gil Nieto" userId="dc92af6d-8bfc-4cf9-a920-242e8fde7056" providerId="ADAL" clId="{6FC6E936-F934-4CAF-9978-4FF4914385E3}" dt="2019-04-03T10:37:29.071" v="2296" actId="113"/>
          <ac:spMkLst>
            <pc:docMk/>
            <pc:sldMk cId="2267118212" sldId="532"/>
            <ac:spMk id="19" creationId="{91FAB163-3DB0-4203-B166-C6AD30E8AD1E}"/>
          </ac:spMkLst>
        </pc:spChg>
        <pc:picChg chg="del">
          <ac:chgData name="Jordi Gil Nieto" userId="dc92af6d-8bfc-4cf9-a920-242e8fde7056" providerId="ADAL" clId="{6FC6E936-F934-4CAF-9978-4FF4914385E3}" dt="2019-04-03T09:25:34.509" v="2205" actId="478"/>
          <ac:picMkLst>
            <pc:docMk/>
            <pc:sldMk cId="2267118212" sldId="532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3T09:27:35.985" v="2250" actId="14100"/>
          <ac:picMkLst>
            <pc:docMk/>
            <pc:sldMk cId="2267118212" sldId="532"/>
            <ac:picMk id="12290" creationId="{4FFA4226-5F98-4FEC-A3CC-B77A750CCF8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00:04.357" v="3087"/>
        <pc:sldMkLst>
          <pc:docMk/>
          <pc:sldMk cId="1251394239" sldId="533"/>
        </pc:sldMkLst>
        <pc:spChg chg="del">
          <ac:chgData name="Jordi Gil Nieto" userId="dc92af6d-8bfc-4cf9-a920-242e8fde7056" providerId="ADAL" clId="{6FC6E936-F934-4CAF-9978-4FF4914385E3}" dt="2019-04-03T11:20:58.805" v="2318" actId="478"/>
          <ac:spMkLst>
            <pc:docMk/>
            <pc:sldMk cId="1251394239" sldId="533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11:21:27.865" v="2374" actId="20577"/>
          <ac:spMkLst>
            <pc:docMk/>
            <pc:sldMk cId="1251394239" sldId="533"/>
            <ac:spMk id="15" creationId="{3AFA7131-3939-49EE-B632-35CE9DBA4657}"/>
          </ac:spMkLst>
        </pc:spChg>
        <pc:graphicFrameChg chg="add mod">
          <ac:chgData name="Jordi Gil Nieto" userId="dc92af6d-8bfc-4cf9-a920-242e8fde7056" providerId="ADAL" clId="{6FC6E936-F934-4CAF-9978-4FF4914385E3}" dt="2019-04-03T11:26:30.330" v="2436"/>
          <ac:graphicFrameMkLst>
            <pc:docMk/>
            <pc:sldMk cId="1251394239" sldId="533"/>
            <ac:graphicFrameMk id="2" creationId="{34C982A6-6B13-405C-B300-B92B7BEF1921}"/>
          </ac:graphicFrameMkLst>
        </pc:graphicFrameChg>
        <pc:picChg chg="del">
          <ac:chgData name="Jordi Gil Nieto" userId="dc92af6d-8bfc-4cf9-a920-242e8fde7056" providerId="ADAL" clId="{6FC6E936-F934-4CAF-9978-4FF4914385E3}" dt="2019-04-03T11:20:52.625" v="2316" actId="478"/>
          <ac:picMkLst>
            <pc:docMk/>
            <pc:sldMk cId="1251394239" sldId="533"/>
            <ac:picMk id="50" creationId="{7CA49931-9674-4450-8D00-638F7CF501AB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07:55:35.101" v="3083" actId="20577"/>
        <pc:sldMkLst>
          <pc:docMk/>
          <pc:sldMk cId="1302732954" sldId="534"/>
        </pc:sldMkLst>
        <pc:spChg chg="add del mod">
          <ac:chgData name="Jordi Gil Nieto" userId="dc92af6d-8bfc-4cf9-a920-242e8fde7056" providerId="ADAL" clId="{6FC6E936-F934-4CAF-9978-4FF4914385E3}" dt="2019-04-04T07:47:04.319" v="2879" actId="478"/>
          <ac:spMkLst>
            <pc:docMk/>
            <pc:sldMk cId="1302732954" sldId="534"/>
            <ac:spMk id="2" creationId="{EE33FB12-17B2-40BB-A0EA-031F04971108}"/>
          </ac:spMkLst>
        </pc:spChg>
        <pc:spChg chg="del">
          <ac:chgData name="Jordi Gil Nieto" userId="dc92af6d-8bfc-4cf9-a920-242e8fde7056" providerId="ADAL" clId="{6FC6E936-F934-4CAF-9978-4FF4914385E3}" dt="2019-04-03T11:29:19.482" v="2465" actId="478"/>
          <ac:spMkLst>
            <pc:docMk/>
            <pc:sldMk cId="1302732954" sldId="534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8:43.775" v="3029" actId="113"/>
          <ac:spMkLst>
            <pc:docMk/>
            <pc:sldMk cId="1302732954" sldId="534"/>
            <ac:spMk id="14" creationId="{48B562C9-70E1-4DAA-AC40-FEC511E7DE29}"/>
          </ac:spMkLst>
        </pc:spChg>
        <pc:spChg chg="mod">
          <ac:chgData name="Jordi Gil Nieto" userId="dc92af6d-8bfc-4cf9-a920-242e8fde7056" providerId="ADAL" clId="{6FC6E936-F934-4CAF-9978-4FF4914385E3}" dt="2019-04-03T11:29:16.171" v="2464" actId="20577"/>
          <ac:spMkLst>
            <pc:docMk/>
            <pc:sldMk cId="1302732954" sldId="534"/>
            <ac:spMk id="46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07:55:35.101" v="3083" actId="20577"/>
          <ac:graphicFrameMkLst>
            <pc:docMk/>
            <pc:sldMk cId="1302732954" sldId="534"/>
            <ac:graphicFrameMk id="3" creationId="{4BAA735B-595A-41B3-8517-211828653994}"/>
          </ac:graphicFrameMkLst>
        </pc:graphicFrameChg>
      </pc:sldChg>
      <pc:sldChg chg="addSp delSp modSp add modNotesTx">
        <pc:chgData name="Jordi Gil Nieto" userId="dc92af6d-8bfc-4cf9-a920-242e8fde7056" providerId="ADAL" clId="{6FC6E936-F934-4CAF-9978-4FF4914385E3}" dt="2019-04-04T10:20:38.452" v="3816" actId="20577"/>
        <pc:sldMkLst>
          <pc:docMk/>
          <pc:sldMk cId="412082376" sldId="535"/>
        </pc:sldMkLst>
        <pc:spChg chg="del">
          <ac:chgData name="Jordi Gil Nieto" userId="dc92af6d-8bfc-4cf9-a920-242e8fde7056" providerId="ADAL" clId="{6FC6E936-F934-4CAF-9978-4FF4914385E3}" dt="2019-04-04T10:15:16.679" v="3560" actId="478"/>
          <ac:spMkLst>
            <pc:docMk/>
            <pc:sldMk cId="412082376" sldId="535"/>
            <ac:spMk id="2" creationId="{93037DD5-102E-4D32-9439-91DA2FEDD037}"/>
          </ac:spMkLst>
        </pc:spChg>
        <pc:spChg chg="del">
          <ac:chgData name="Jordi Gil Nieto" userId="dc92af6d-8bfc-4cf9-a920-242e8fde7056" providerId="ADAL" clId="{6FC6E936-F934-4CAF-9978-4FF4914385E3}" dt="2019-04-04T10:15:14.754" v="3559" actId="478"/>
          <ac:spMkLst>
            <pc:docMk/>
            <pc:sldMk cId="412082376" sldId="535"/>
            <ac:spMk id="14" creationId="{00000000-0000-0000-0000-000000000000}"/>
          </ac:spMkLst>
        </pc:spChg>
        <pc:spChg chg="add del mod">
          <ac:chgData name="Jordi Gil Nieto" userId="dc92af6d-8bfc-4cf9-a920-242e8fde7056" providerId="ADAL" clId="{6FC6E936-F934-4CAF-9978-4FF4914385E3}" dt="2019-04-04T10:20:19.279" v="3808" actId="478"/>
          <ac:spMkLst>
            <pc:docMk/>
            <pc:sldMk cId="412082376" sldId="535"/>
            <ac:spMk id="17" creationId="{6FCDF5EE-2841-4E52-8A8E-EAA2979A9387}"/>
          </ac:spMkLst>
        </pc:spChg>
        <pc:spChg chg="mod">
          <ac:chgData name="Jordi Gil Nieto" userId="dc92af6d-8bfc-4cf9-a920-242e8fde7056" providerId="ADAL" clId="{6FC6E936-F934-4CAF-9978-4FF4914385E3}" dt="2019-04-04T10:20:16.018" v="3807"/>
          <ac:spMkLst>
            <pc:docMk/>
            <pc:sldMk cId="412082376" sldId="535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0:38.452" v="3816" actId="20577"/>
          <ac:graphicFrameMkLst>
            <pc:docMk/>
            <pc:sldMk cId="412082376" sldId="535"/>
            <ac:graphicFrameMk id="3" creationId="{65146BE8-21D5-4C33-BF05-765BCC08D847}"/>
          </ac:graphicFrameMkLst>
        </pc:graphicFrame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4" creationId="{5914F587-D02F-4BC8-8089-F9A44428A221}"/>
          </ac:picMkLst>
        </pc:pic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50" creationId="{7CA49931-9674-4450-8D00-638F7CF501AB}"/>
          </ac:picMkLst>
        </pc:picChg>
      </pc:sldChg>
      <pc:sldChg chg="modSp add">
        <pc:chgData name="Jordi Gil Nieto" userId="dc92af6d-8bfc-4cf9-a920-242e8fde7056" providerId="ADAL" clId="{6FC6E936-F934-4CAF-9978-4FF4914385E3}" dt="2019-04-04T10:32:29.347" v="4169" actId="108"/>
        <pc:sldMkLst>
          <pc:docMk/>
          <pc:sldMk cId="855522413" sldId="536"/>
        </pc:sldMkLst>
        <pc:spChg chg="mod">
          <ac:chgData name="Jordi Gil Nieto" userId="dc92af6d-8bfc-4cf9-a920-242e8fde7056" providerId="ADAL" clId="{6FC6E936-F934-4CAF-9978-4FF4914385E3}" dt="2019-04-04T10:32:29.347" v="4169" actId="108"/>
          <ac:spMkLst>
            <pc:docMk/>
            <pc:sldMk cId="855522413" sldId="536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2:49.005" v="4173" actId="108"/>
        <pc:sldMkLst>
          <pc:docMk/>
          <pc:sldMk cId="2943615084" sldId="537"/>
        </pc:sldMkLst>
        <pc:spChg chg="mod">
          <ac:chgData name="Jordi Gil Nieto" userId="dc92af6d-8bfc-4cf9-a920-242e8fde7056" providerId="ADAL" clId="{6FC6E936-F934-4CAF-9978-4FF4914385E3}" dt="2019-04-04T10:32:49.005" v="4173" actId="108"/>
          <ac:spMkLst>
            <pc:docMk/>
            <pc:sldMk cId="2943615084" sldId="537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00.884" v="4175" actId="108"/>
        <pc:sldMkLst>
          <pc:docMk/>
          <pc:sldMk cId="1957730959" sldId="538"/>
        </pc:sldMkLst>
        <pc:spChg chg="mod">
          <ac:chgData name="Jordi Gil Nieto" userId="dc92af6d-8bfc-4cf9-a920-242e8fde7056" providerId="ADAL" clId="{6FC6E936-F934-4CAF-9978-4FF4914385E3}" dt="2019-04-04T10:33:00.884" v="4175" actId="108"/>
          <ac:spMkLst>
            <pc:docMk/>
            <pc:sldMk cId="1957730959" sldId="538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11.748" v="4178" actId="108"/>
        <pc:sldMkLst>
          <pc:docMk/>
          <pc:sldMk cId="2069808195" sldId="539"/>
        </pc:sldMkLst>
        <pc:spChg chg="mod">
          <ac:chgData name="Jordi Gil Nieto" userId="dc92af6d-8bfc-4cf9-a920-242e8fde7056" providerId="ADAL" clId="{6FC6E936-F934-4CAF-9978-4FF4914385E3}" dt="2019-04-04T10:33:11.748" v="4178" actId="108"/>
          <ac:spMkLst>
            <pc:docMk/>
            <pc:sldMk cId="2069808195" sldId="539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27.044" v="4180" actId="108"/>
        <pc:sldMkLst>
          <pc:docMk/>
          <pc:sldMk cId="903296892" sldId="540"/>
        </pc:sldMkLst>
        <pc:spChg chg="mod">
          <ac:chgData name="Jordi Gil Nieto" userId="dc92af6d-8bfc-4cf9-a920-242e8fde7056" providerId="ADAL" clId="{6FC6E936-F934-4CAF-9978-4FF4914385E3}" dt="2019-04-04T10:33:27.044" v="4180" actId="108"/>
          <ac:spMkLst>
            <pc:docMk/>
            <pc:sldMk cId="903296892" sldId="540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66946E7E-D369-4415-BA61-A69B87E5B379}"/>
    <pc:docChg chg="addSld delSld modSld modSection">
      <pc:chgData name="Daniel Amores Alvarez" userId="S::damoresa@everis.com::ff5997fe-a964-45d1-b9c2-852633b5230a" providerId="AD" clId="Web-{66946E7E-D369-4415-BA61-A69B87E5B379}" dt="2020-01-13T12:24:26.549" v="505" actId="20577"/>
      <pc:docMkLst>
        <pc:docMk/>
      </pc:docMkLst>
      <pc:sldChg chg="del">
        <pc:chgData name="Daniel Amores Alvarez" userId="S::damoresa@everis.com::ff5997fe-a964-45d1-b9c2-852633b5230a" providerId="AD" clId="Web-{66946E7E-D369-4415-BA61-A69B87E5B379}" dt="2020-01-13T12:07:30.059" v="16"/>
        <pc:sldMkLst>
          <pc:docMk/>
          <pc:sldMk cId="436621792" sldId="52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40" v="15"/>
        <pc:sldMkLst>
          <pc:docMk/>
          <pc:sldMk cId="3764660779" sldId="52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0" v="13"/>
        <pc:sldMkLst>
          <pc:docMk/>
          <pc:sldMk cId="1800423798" sldId="52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29.999" v="11"/>
        <pc:sldMkLst>
          <pc:docMk/>
          <pc:sldMk cId="1302732954" sldId="534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61" v="17"/>
        <pc:sldMkLst>
          <pc:docMk/>
          <pc:sldMk cId="2943615084" sldId="53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1" v="14"/>
        <pc:sldMkLst>
          <pc:docMk/>
          <pc:sldMk cId="1957730959" sldId="53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01" v="12"/>
        <pc:sldMkLst>
          <pc:docMk/>
          <pc:sldMk cId="2069808195" sldId="53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6.598" v="19"/>
        <pc:sldMkLst>
          <pc:docMk/>
          <pc:sldMk cId="903296892" sldId="540"/>
        </pc:sldMkLst>
      </pc:sldChg>
      <pc:sldChg chg="addSp modSp">
        <pc:chgData name="Daniel Amores Alvarez" userId="S::damoresa@everis.com::ff5997fe-a964-45d1-b9c2-852633b5230a" providerId="AD" clId="Web-{66946E7E-D369-4415-BA61-A69B87E5B379}" dt="2020-01-13T12:21:41.611" v="385" actId="1076"/>
        <pc:sldMkLst>
          <pc:docMk/>
          <pc:sldMk cId="1791240125" sldId="542"/>
        </pc:sldMkLst>
        <pc:spChg chg="add mod">
          <ac:chgData name="Daniel Amores Alvarez" userId="S::damoresa@everis.com::ff5997fe-a964-45d1-b9c2-852633b5230a" providerId="AD" clId="Web-{66946E7E-D369-4415-BA61-A69B87E5B379}" dt="2020-01-13T12:21:41.611" v="385" actId="1076"/>
          <ac:spMkLst>
            <pc:docMk/>
            <pc:sldMk cId="1791240125" sldId="54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07:24.079" v="8" actId="20577"/>
          <ac:spMkLst>
            <pc:docMk/>
            <pc:sldMk cId="1791240125" sldId="542"/>
            <ac:spMk id="46" creationId="{00000000-0000-0000-0000-000000000000}"/>
          </ac:spMkLst>
        </pc:spChg>
        <pc:picChg chg="add">
          <ac:chgData name="Daniel Amores Alvarez" userId="S::damoresa@everis.com::ff5997fe-a964-45d1-b9c2-852633b5230a" providerId="AD" clId="Web-{66946E7E-D369-4415-BA61-A69B87E5B379}" dt="2020-01-13T12:07:06.687" v="0"/>
          <ac:picMkLst>
            <pc:docMk/>
            <pc:sldMk cId="1791240125" sldId="542"/>
            <ac:picMk id="15" creationId="{DF4EF015-7992-4859-AC70-FEBECA67C1F6}"/>
          </ac:picMkLst>
        </pc:picChg>
      </pc:sldChg>
      <pc:sldChg chg="modSp add replId">
        <pc:chgData name="Daniel Amores Alvarez" userId="S::damoresa@everis.com::ff5997fe-a964-45d1-b9c2-852633b5230a" providerId="AD" clId="Web-{66946E7E-D369-4415-BA61-A69B87E5B379}" dt="2020-01-13T12:08:07.220" v="4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6946E7E-D369-4415-BA61-A69B87E5B379}" dt="2020-01-13T12:08:07.220" v="4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6946E7E-D369-4415-BA61-A69B87E5B379}" dt="2020-01-13T12:07:51.250" v="30"/>
        <pc:sldMkLst>
          <pc:docMk/>
          <pc:sldMk cId="588513800" sldId="546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17.814" v="47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6946E7E-D369-4415-BA61-A69B87E5B379}" dt="2020-01-13T12:08:17.814" v="47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08:28.339" v="54"/>
        <pc:sldMkLst>
          <pc:docMk/>
          <pc:sldMk cId="3723997582" sldId="548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24.093" v="52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6946E7E-D369-4415-BA61-A69B87E5B379}" dt="2020-01-13T12:08:24.093" v="52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0:44.330" v="321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6946E7E-D369-4415-BA61-A69B87E5B379}" dt="2020-01-13T12:20:44.330" v="321" actId="20577"/>
          <ac:spMkLst>
            <pc:docMk/>
            <pc:sldMk cId="60774363" sldId="550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5:44.766" v="214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08:59.273" v="126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66946E7E-D369-4415-BA61-A69B87E5B379}" dt="2020-01-13T12:08:59.273" v="126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07.564" v="334" actId="20577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66946E7E-D369-4415-BA61-A69B87E5B379}" dt="2020-01-13T12:21:07.564" v="334" actId="20577"/>
          <ac:spMkLst>
            <pc:docMk/>
            <pc:sldMk cId="1337246645" sldId="55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6:08.891" v="256" actId="20577"/>
          <ac:spMkLst>
            <pc:docMk/>
            <pc:sldMk cId="1337246645" sldId="552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15:51.641" v="219"/>
        <pc:sldMkLst>
          <pc:docMk/>
          <pc:sldMk cId="3249775528" sldId="552"/>
        </pc:sldMkLst>
      </pc:sldChg>
      <pc:sldChg chg="add del replId">
        <pc:chgData name="Daniel Amores Alvarez" userId="S::damoresa@everis.com::ff5997fe-a964-45d1-b9c2-852633b5230a" providerId="AD" clId="Web-{66946E7E-D369-4415-BA61-A69B87E5B379}" dt="2020-01-13T12:15:51.656" v="220"/>
        <pc:sldMkLst>
          <pc:docMk/>
          <pc:sldMk cId="183430687" sldId="553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16:02.031" v="229" actId="20577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66946E7E-D369-4415-BA61-A69B87E5B379}" dt="2020-01-13T12:16:02.031" v="229" actId="20577"/>
          <ac:spMkLst>
            <pc:docMk/>
            <pc:sldMk cId="3220759382" sldId="55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4:26.549" v="505" actId="20577"/>
        <pc:sldMkLst>
          <pc:docMk/>
          <pc:sldMk cId="480044214" sldId="554"/>
        </pc:sldMkLst>
        <pc:spChg chg="mod">
          <ac:chgData name="Daniel Amores Alvarez" userId="S::damoresa@everis.com::ff5997fe-a964-45d1-b9c2-852633b5230a" providerId="AD" clId="Web-{66946E7E-D369-4415-BA61-A69B87E5B379}" dt="2020-01-13T12:24:26.549" v="505" actId="20577"/>
          <ac:spMkLst>
            <pc:docMk/>
            <pc:sldMk cId="480044214" sldId="554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21:28.267" v="382" actId="20577"/>
          <ac:spMkLst>
            <pc:docMk/>
            <pc:sldMk cId="480044214" sldId="554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22.548" v="359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66946E7E-D369-4415-BA61-A69B87E5B379}" dt="2020-01-13T12:21:22.548" v="359" actId="20577"/>
          <ac:spMkLst>
            <pc:docMk/>
            <pc:sldMk cId="2761975210" sldId="555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11097AE1-8FE5-4C9C-BD15-4C363EB1B3F8}"/>
    <pc:docChg chg="modSld">
      <pc:chgData name="Daniel Amores Alvarez" userId="S::damoresa@everis.com::ff5997fe-a964-45d1-b9c2-852633b5230a" providerId="AD" clId="Web-{11097AE1-8FE5-4C9C-BD15-4C363EB1B3F8}" dt="2021-01-19T09:39:04.735" v="68" actId="20577"/>
      <pc:docMkLst>
        <pc:docMk/>
      </pc:docMkLst>
      <pc:sldChg chg="modSp">
        <pc:chgData name="Daniel Amores Alvarez" userId="S::damoresa@everis.com::ff5997fe-a964-45d1-b9c2-852633b5230a" providerId="AD" clId="Web-{11097AE1-8FE5-4C9C-BD15-4C363EB1B3F8}" dt="2021-01-19T09:39:04.735" v="68" actId="20577"/>
        <pc:sldMkLst>
          <pc:docMk/>
          <pc:sldMk cId="667787940" sldId="608"/>
        </pc:sldMkLst>
        <pc:spChg chg="mod">
          <ac:chgData name="Daniel Amores Alvarez" userId="S::damoresa@everis.com::ff5997fe-a964-45d1-b9c2-852633b5230a" providerId="AD" clId="Web-{11097AE1-8FE5-4C9C-BD15-4C363EB1B3F8}" dt="2021-01-19T09:39:04.735" v="68" actId="20577"/>
          <ac:spMkLst>
            <pc:docMk/>
            <pc:sldMk cId="667787940" sldId="608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F52298E7-D596-40EA-849E-B07C5094B641}"/>
    <pc:docChg chg="addSld delSld modSld modSection">
      <pc:chgData name="Daniel Amores Alvarez" userId="S::damoresa@everis.com::ff5997fe-a964-45d1-b9c2-852633b5230a" providerId="AD" clId="Web-{F52298E7-D596-40EA-849E-B07C5094B641}" dt="2020-01-13T12:04:14.979" v="223"/>
      <pc:docMkLst>
        <pc:docMk/>
      </pc:docMkLst>
      <pc:sldChg chg="modSp">
        <pc:chgData name="Daniel Amores Alvarez" userId="S::damoresa@everis.com::ff5997fe-a964-45d1-b9c2-852633b5230a" providerId="AD" clId="Web-{F52298E7-D596-40EA-849E-B07C5094B641}" dt="2020-01-13T11:52:16.993" v="150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F52298E7-D596-40EA-849E-B07C5094B641}" dt="2020-01-13T11:52:16.993" v="150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8:18.947" v="165"/>
        <pc:sldMkLst>
          <pc:docMk/>
          <pc:sldMk cId="1842254415" sldId="479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0.213" v="184"/>
        <pc:sldMkLst>
          <pc:docMk/>
          <pc:sldMk cId="1538420332" sldId="52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7.822" v="182"/>
        <pc:sldMkLst>
          <pc:docMk/>
          <pc:sldMk cId="2825012662" sldId="524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6.416" v="188"/>
        <pc:sldMkLst>
          <pc:docMk/>
          <pc:sldMk cId="2976379869" sldId="525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2.526" v="185"/>
        <pc:sldMkLst>
          <pc:docMk/>
          <pc:sldMk cId="1619765855" sldId="526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5.135" v="187"/>
        <pc:sldMkLst>
          <pc:docMk/>
          <pc:sldMk cId="2965529254" sldId="530"/>
        </pc:sldMkLst>
      </pc:sldChg>
      <pc:sldChg chg="delSp modSp">
        <pc:chgData name="Daniel Amores Alvarez" userId="S::damoresa@everis.com::ff5997fe-a964-45d1-b9c2-852633b5230a" providerId="AD" clId="Web-{F52298E7-D596-40EA-849E-B07C5094B641}" dt="2020-01-13T12:04:14.979" v="223"/>
        <pc:sldMkLst>
          <pc:docMk/>
          <pc:sldMk cId="616148466" sldId="531"/>
        </pc:sldMkLst>
        <pc:spChg chg="del">
          <ac:chgData name="Daniel Amores Alvarez" userId="S::damoresa@everis.com::ff5997fe-a964-45d1-b9c2-852633b5230a" providerId="AD" clId="Web-{F52298E7-D596-40EA-849E-B07C5094B641}" dt="2020-01-13T12:04:14.979" v="223"/>
          <ac:spMkLst>
            <pc:docMk/>
            <pc:sldMk cId="616148466" sldId="531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37.464" v="207" actId="20577"/>
          <ac:spMkLst>
            <pc:docMk/>
            <pc:sldMk cId="616148466" sldId="53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1:58:16.494" v="162" actId="20577"/>
          <ac:spMkLst>
            <pc:docMk/>
            <pc:sldMk cId="616148466" sldId="531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9:41.041" v="190"/>
        <pc:sldMkLst>
          <pc:docMk/>
          <pc:sldMk cId="2267118212" sldId="532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4.011" v="186"/>
        <pc:sldMkLst>
          <pc:docMk/>
          <pc:sldMk cId="1251394239" sldId="53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8.963" v="183"/>
        <pc:sldMkLst>
          <pc:docMk/>
          <pc:sldMk cId="412082376" sldId="535"/>
        </pc:sldMkLst>
      </pc:sldChg>
      <pc:sldChg chg="del">
        <pc:chgData name="Daniel Amores Alvarez" userId="S::damoresa@everis.com::ff5997fe-a964-45d1-b9c2-852633b5230a" providerId="AD" clId="Web-{F52298E7-D596-40EA-849E-B07C5094B641}" dt="2020-01-13T12:03:48.667" v="212"/>
        <pc:sldMkLst>
          <pc:docMk/>
          <pc:sldMk cId="855522413" sldId="536"/>
        </pc:sldMkLst>
      </pc:sldChg>
      <pc:sldChg chg="delSp modSp add del replId">
        <pc:chgData name="Daniel Amores Alvarez" userId="S::damoresa@everis.com::ff5997fe-a964-45d1-b9c2-852633b5230a" providerId="AD" clId="Web-{F52298E7-D596-40EA-849E-B07C5094B641}" dt="2020-01-13T12:03:27.027" v="203"/>
        <pc:sldMkLst>
          <pc:docMk/>
          <pc:sldMk cId="3412149654" sldId="541"/>
        </pc:sldMkLst>
        <pc:spChg chg="mod">
          <ac:chgData name="Daniel Amores Alvarez" userId="S::damoresa@everis.com::ff5997fe-a964-45d1-b9c2-852633b5230a" providerId="AD" clId="Web-{F52298E7-D596-40EA-849E-B07C5094B641}" dt="2020-01-13T11:59:23.698" v="179" actId="20577"/>
          <ac:spMkLst>
            <pc:docMk/>
            <pc:sldMk cId="3412149654" sldId="541"/>
            <ac:spMk id="14" creationId="{6CBD4B3D-78A9-46CF-B7B8-8C171B3F1943}"/>
          </ac:spMkLst>
        </pc:spChg>
        <pc:spChg chg="del">
          <ac:chgData name="Daniel Amores Alvarez" userId="S::damoresa@everis.com::ff5997fe-a964-45d1-b9c2-852633b5230a" providerId="AD" clId="Web-{F52298E7-D596-40EA-849E-B07C5094B641}" dt="2020-01-13T12:03:26.151" v="202"/>
          <ac:spMkLst>
            <pc:docMk/>
            <pc:sldMk cId="3412149654" sldId="541"/>
            <ac:spMk id="15" creationId="{7BD50C13-A712-406E-8E16-C9230DE49BA2}"/>
          </ac:spMkLst>
        </pc:spChg>
      </pc:sldChg>
      <pc:sldChg chg="delSp add replId">
        <pc:chgData name="Daniel Amores Alvarez" userId="S::damoresa@everis.com::ff5997fe-a964-45d1-b9c2-852633b5230a" providerId="AD" clId="Web-{F52298E7-D596-40EA-849E-B07C5094B641}" dt="2020-01-13T12:03:22.229" v="201"/>
        <pc:sldMkLst>
          <pc:docMk/>
          <pc:sldMk cId="1791240125" sldId="542"/>
        </pc:sldMkLst>
        <pc:spChg chg="del">
          <ac:chgData name="Daniel Amores Alvarez" userId="S::damoresa@everis.com::ff5997fe-a964-45d1-b9c2-852633b5230a" providerId="AD" clId="Web-{F52298E7-D596-40EA-849E-B07C5094B641}" dt="2020-01-13T12:03:22.229" v="201"/>
          <ac:spMkLst>
            <pc:docMk/>
            <pc:sldMk cId="1791240125" sldId="542"/>
            <ac:spMk id="15" creationId="{7BD50C13-A712-406E-8E16-C9230DE49BA2}"/>
          </ac:spMkLst>
        </pc:spChg>
      </pc:sldChg>
      <pc:sldChg chg="delSp modSp add replId">
        <pc:chgData name="Daniel Amores Alvarez" userId="S::damoresa@everis.com::ff5997fe-a964-45d1-b9c2-852633b5230a" providerId="AD" clId="Web-{F52298E7-D596-40EA-849E-B07C5094B641}" dt="2020-01-13T12:04:13.401" v="222"/>
        <pc:sldMkLst>
          <pc:docMk/>
          <pc:sldMk cId="2086390204" sldId="543"/>
        </pc:sldMkLst>
        <pc:spChg chg="del">
          <ac:chgData name="Daniel Amores Alvarez" userId="S::damoresa@everis.com::ff5997fe-a964-45d1-b9c2-852633b5230a" providerId="AD" clId="Web-{F52298E7-D596-40EA-849E-B07C5094B641}" dt="2020-01-13T12:04:13.401" v="222"/>
          <ac:spMkLst>
            <pc:docMk/>
            <pc:sldMk cId="2086390204" sldId="543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44.417" v="210" actId="20577"/>
          <ac:spMkLst>
            <pc:docMk/>
            <pc:sldMk cId="2086390204" sldId="543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17.089" v="198" actId="20577"/>
          <ac:spMkLst>
            <pc:docMk/>
            <pc:sldMk cId="2086390204" sldId="54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F52298E7-D596-40EA-849E-B07C5094B641}" dt="2020-01-13T12:04:03.370" v="219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F52298E7-D596-40EA-849E-B07C5094B641}" dt="2020-01-13T12:04:03.370" v="219" actId="20577"/>
          <ac:spMkLst>
            <pc:docMk/>
            <pc:sldMk cId="1819518269" sldId="544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BB906ADF-AB14-4CF1-A6A5-B4D24E7860C2}"/>
    <pc:docChg chg="addSld modSld modSection">
      <pc:chgData name="Daniel Amores Alvarez" userId="S::damoresa@everis.com::ff5997fe-a964-45d1-b9c2-852633b5230a" providerId="AD" clId="Web-{BB906ADF-AB14-4CF1-A6A5-B4D24E7860C2}" dt="2020-01-15T11:43:37.602" v="5231" actId="1076"/>
      <pc:docMkLst>
        <pc:docMk/>
      </pc:docMkLst>
      <pc:sldChg chg="addSp modSp">
        <pc:chgData name="Daniel Amores Alvarez" userId="S::damoresa@everis.com::ff5997fe-a964-45d1-b9c2-852633b5230a" providerId="AD" clId="Web-{BB906ADF-AB14-4CF1-A6A5-B4D24E7860C2}" dt="2020-01-15T09:51:23.984" v="1508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BB906ADF-AB14-4CF1-A6A5-B4D24E7860C2}" dt="2020-01-15T09:50:35.593" v="1434" actId="20577"/>
          <ac:spMkLst>
            <pc:docMk/>
            <pc:sldMk cId="4162823876" sldId="551"/>
            <ac:spMk id="2" creationId="{8624B431-4101-47F0-BB89-3368E781A537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50:13.811" v="1411" actId="20577"/>
          <ac:spMkLst>
            <pc:docMk/>
            <pc:sldMk cId="4162823876" sldId="551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51:23.984" v="1508" actId="20577"/>
          <ac:spMkLst>
            <pc:docMk/>
            <pc:sldMk cId="4162823876" sldId="551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10:08:03.931" v="2696" actId="1076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BB906ADF-AB14-4CF1-A6A5-B4D24E7860C2}" dt="2020-01-15T10:08:03.931" v="2696" actId="1076"/>
          <ac:spMkLst>
            <pc:docMk/>
            <pc:sldMk cId="1337246645" sldId="552"/>
            <ac:spMk id="16" creationId="{6909A535-8C53-4A37-B3E0-FC6F7A28423E}"/>
          </ac:spMkLst>
        </pc:spChg>
      </pc:sldChg>
      <pc:sldChg chg="addSp modSp">
        <pc:chgData name="Daniel Amores Alvarez" userId="S::damoresa@everis.com::ff5997fe-a964-45d1-b9c2-852633b5230a" providerId="AD" clId="Web-{BB906ADF-AB14-4CF1-A6A5-B4D24E7860C2}" dt="2020-01-15T10:59:36.416" v="3412" actId="1076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BB906ADF-AB14-4CF1-A6A5-B4D24E7860C2}" dt="2020-01-15T10:58:30.182" v="3405" actId="14100"/>
          <ac:spMkLst>
            <pc:docMk/>
            <pc:sldMk cId="3220759382" sldId="553"/>
            <ac:spMk id="15" creationId="{7BD50C13-A712-406E-8E16-C9230DE49BA2}"/>
          </ac:spMkLst>
        </pc:spChg>
        <pc:picChg chg="add mod ord">
          <ac:chgData name="Daniel Amores Alvarez" userId="S::damoresa@everis.com::ff5997fe-a964-45d1-b9c2-852633b5230a" providerId="AD" clId="Web-{BB906ADF-AB14-4CF1-A6A5-B4D24E7860C2}" dt="2020-01-15T10:59:36.416" v="3412" actId="1076"/>
          <ac:picMkLst>
            <pc:docMk/>
            <pc:sldMk cId="3220759382" sldId="553"/>
            <ac:picMk id="2" creationId="{8ECDBB95-644A-4FEE-B1A9-34E8E408442E}"/>
          </ac:picMkLst>
        </pc:picChg>
      </pc:sldChg>
      <pc:sldChg chg="modSp">
        <pc:chgData name="Daniel Amores Alvarez" userId="S::damoresa@everis.com::ff5997fe-a964-45d1-b9c2-852633b5230a" providerId="AD" clId="Web-{BB906ADF-AB14-4CF1-A6A5-B4D24E7860C2}" dt="2020-01-15T11:05:42.901" v="4005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BB906ADF-AB14-4CF1-A6A5-B4D24E7860C2}" dt="2020-01-15T11:05:42.901" v="4005" actId="20577"/>
          <ac:spMkLst>
            <pc:docMk/>
            <pc:sldMk cId="2761975210" sldId="555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09:57:23.111" v="2002" actId="20577"/>
        <pc:sldMkLst>
          <pc:docMk/>
          <pc:sldMk cId="2728398026" sldId="556"/>
        </pc:sldMkLst>
        <pc:spChg chg="mod">
          <ac:chgData name="Daniel Amores Alvarez" userId="S::damoresa@everis.com::ff5997fe-a964-45d1-b9c2-852633b5230a" providerId="AD" clId="Web-{BB906ADF-AB14-4CF1-A6A5-B4D24E7860C2}" dt="2020-01-15T09:57:23.111" v="2002" actId="20577"/>
          <ac:spMkLst>
            <pc:docMk/>
            <pc:sldMk cId="2728398026" sldId="556"/>
            <ac:spMk id="15" creationId="{7BD50C13-A712-406E-8E16-C9230DE49BA2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1:50.953" v="1534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BB906ADF-AB14-4CF1-A6A5-B4D24E7860C2}" dt="2020-01-15T09:51:50.953" v="1534" actId="20577"/>
          <ac:spMkLst>
            <pc:docMk/>
            <pc:sldMk cId="3125120265" sldId="557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7:17.685" v="1273" actId="14100"/>
          <ac:spMkLst>
            <pc:docMk/>
            <pc:sldMk cId="3125120265" sldId="557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6:11.638" v="1253" actId="20577"/>
          <ac:spMkLst>
            <pc:docMk/>
            <pc:sldMk cId="3125120265" sldId="557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7:05.873" v="1267"/>
          <ac:spMkLst>
            <pc:docMk/>
            <pc:sldMk cId="3125120265" sldId="557"/>
            <ac:spMk id="16" creationId="{368C45F2-FC25-41EB-B3C7-0A724F9C2DFE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2:05.672" v="1585" actId="20577"/>
        <pc:sldMkLst>
          <pc:docMk/>
          <pc:sldMk cId="1876975774" sldId="558"/>
        </pc:sldMkLst>
        <pc:spChg chg="mod">
          <ac:chgData name="Daniel Amores Alvarez" userId="S::damoresa@everis.com::ff5997fe-a964-45d1-b9c2-852633b5230a" providerId="AD" clId="Web-{BB906ADF-AB14-4CF1-A6A5-B4D24E7860C2}" dt="2020-01-15T09:52:05.672" v="1585" actId="20577"/>
          <ac:spMkLst>
            <pc:docMk/>
            <pc:sldMk cId="1876975774" sldId="558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9:55.749" v="1409" actId="20577"/>
          <ac:spMkLst>
            <pc:docMk/>
            <pc:sldMk cId="1876975774" sldId="558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8:31.451" v="1336" actId="14100"/>
          <ac:spMkLst>
            <pc:docMk/>
            <pc:sldMk cId="1876975774" sldId="558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8:26.779" v="1335"/>
          <ac:spMkLst>
            <pc:docMk/>
            <pc:sldMk cId="1876975774" sldId="558"/>
            <ac:spMk id="16" creationId="{AB7026BC-8151-4963-AA7C-2AF9982C22F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29.983" v="1404" actId="20577"/>
          <ac:spMkLst>
            <pc:docMk/>
            <pc:sldMk cId="1876975774" sldId="558"/>
            <ac:spMk id="17" creationId="{D0797FC4-8B12-409D-8E36-303AC50FA04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04.905" v="1347" actId="14100"/>
          <ac:spMkLst>
            <pc:docMk/>
            <pc:sldMk cId="1876975774" sldId="558"/>
            <ac:spMk id="18" creationId="{5E880823-0343-407D-AF9E-5BB5AC3C6F1F}"/>
          </ac:spMkLst>
        </pc:spChg>
      </pc:sldChg>
      <pc:sldChg chg="modSp add replId">
        <pc:chgData name="Daniel Amores Alvarez" userId="S::damoresa@everis.com::ff5997fe-a964-45d1-b9c2-852633b5230a" providerId="AD" clId="Web-{BB906ADF-AB14-4CF1-A6A5-B4D24E7860C2}" dt="2020-01-15T10:57:58.463" v="3403" actId="20577"/>
        <pc:sldMkLst>
          <pc:docMk/>
          <pc:sldMk cId="1979380824" sldId="559"/>
        </pc:sldMkLst>
        <pc:spChg chg="mod">
          <ac:chgData name="Daniel Amores Alvarez" userId="S::damoresa@everis.com::ff5997fe-a964-45d1-b9c2-852633b5230a" providerId="AD" clId="Web-{BB906ADF-AB14-4CF1-A6A5-B4D24E7860C2}" dt="2020-01-15T10:57:58.463" v="3403" actId="20577"/>
          <ac:spMkLst>
            <pc:docMk/>
            <pc:sldMk cId="1979380824" sldId="559"/>
            <ac:spMk id="15" creationId="{7BD50C13-A712-406E-8E16-C9230DE49BA2}"/>
          </ac:spMkLst>
        </pc:spChg>
      </pc:sldChg>
      <pc:sldChg chg="addSp modSp add replId">
        <pc:chgData name="Daniel Amores Alvarez" userId="S::damoresa@everis.com::ff5997fe-a964-45d1-b9c2-852633b5230a" providerId="AD" clId="Web-{BB906ADF-AB14-4CF1-A6A5-B4D24E7860C2}" dt="2020-01-15T11:43:37.602" v="5231" actId="1076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BB906ADF-AB14-4CF1-A6A5-B4D24E7860C2}" dt="2020-01-15T11:07:57.725" v="4183" actId="20577"/>
          <ac:spMkLst>
            <pc:docMk/>
            <pc:sldMk cId="1849465173" sldId="560"/>
            <ac:spMk id="4" creationId="{7039B450-479A-48D0-9400-AA1DA78223AB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42:20.570" v="5178" actId="20577"/>
          <ac:spMkLst>
            <pc:docMk/>
            <pc:sldMk cId="1849465173" sldId="560"/>
            <ac:spMk id="15" creationId="{7BD50C13-A712-406E-8E16-C9230DE49BA2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43:37.602" v="5231" actId="1076"/>
          <ac:spMkLst>
            <pc:docMk/>
            <pc:sldMk cId="1849465173" sldId="560"/>
            <ac:spMk id="17" creationId="{B28DACAC-C5B4-4FA2-9AE3-A474659D6BE1}"/>
          </ac:spMkLst>
        </pc:spChg>
        <pc:picChg chg="add mod">
          <ac:chgData name="Daniel Amores Alvarez" userId="S::damoresa@everis.com::ff5997fe-a964-45d1-b9c2-852633b5230a" providerId="AD" clId="Web-{BB906ADF-AB14-4CF1-A6A5-B4D24E7860C2}" dt="2020-01-15T11:33:05.664" v="4778" actId="1076"/>
          <ac:picMkLst>
            <pc:docMk/>
            <pc:sldMk cId="1849465173" sldId="560"/>
            <ac:picMk id="2" creationId="{7F55F897-ECF8-46CD-882C-45FF74FBAEBA}"/>
          </ac:picMkLst>
        </pc:picChg>
      </pc:sldChg>
      <pc:sldChg chg="addSp delSp modSp add replId">
        <pc:chgData name="Daniel Amores Alvarez" userId="S::damoresa@everis.com::ff5997fe-a964-45d1-b9c2-852633b5230a" providerId="AD" clId="Web-{BB906ADF-AB14-4CF1-A6A5-B4D24E7860C2}" dt="2020-01-15T11:32:36.695" v="4773" actId="20577"/>
        <pc:sldMkLst>
          <pc:docMk/>
          <pc:sldMk cId="2378695879" sldId="561"/>
        </pc:sldMkLst>
        <pc:spChg chg="add del mod">
          <ac:chgData name="Daniel Amores Alvarez" userId="S::damoresa@everis.com::ff5997fe-a964-45d1-b9c2-852633b5230a" providerId="AD" clId="Web-{BB906ADF-AB14-4CF1-A6A5-B4D24E7860C2}" dt="2020-01-15T11:23:45.054" v="4436"/>
          <ac:spMkLst>
            <pc:docMk/>
            <pc:sldMk cId="2378695879" sldId="561"/>
            <ac:spMk id="3" creationId="{DA17C332-365B-4222-AE3A-6B6148E65548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6:18.460" v="4581" actId="20577"/>
          <ac:spMkLst>
            <pc:docMk/>
            <pc:sldMk cId="2378695879" sldId="561"/>
            <ac:spMk id="5" creationId="{6F6BF734-4BF5-40CC-996E-E26F70A04B0A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25.804" v="4487" actId="20577"/>
          <ac:spMkLst>
            <pc:docMk/>
            <pc:sldMk cId="2378695879" sldId="561"/>
            <ac:spMk id="7" creationId="{22E21FF4-5B34-4EBC-9C72-A062D754DE6E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32:36.695" v="4773" actId="20577"/>
          <ac:spMkLst>
            <pc:docMk/>
            <pc:sldMk cId="2378695879" sldId="561"/>
            <ac:spMk id="8" creationId="{93105E4B-6DA7-4CFA-8164-A8D48B445BA4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31.601" v="4497" actId="20577"/>
          <ac:spMkLst>
            <pc:docMk/>
            <pc:sldMk cId="2378695879" sldId="561"/>
            <ac:spMk id="9" creationId="{DC1B2ADF-5902-43F8-AB17-7A5E9D974193}"/>
          </ac:spMkLst>
        </pc:spChg>
        <pc:spChg chg="del mod">
          <ac:chgData name="Daniel Amores Alvarez" userId="S::damoresa@everis.com::ff5997fe-a964-45d1-b9c2-852633b5230a" providerId="AD" clId="Web-{BB906ADF-AB14-4CF1-A6A5-B4D24E7860C2}" dt="2020-01-15T11:23:46.429" v="4438"/>
          <ac:spMkLst>
            <pc:docMk/>
            <pc:sldMk cId="2378695879" sldId="561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11:23:45.725" v="4437"/>
          <ac:spMkLst>
            <pc:docMk/>
            <pc:sldMk cId="2378695879" sldId="561"/>
            <ac:spMk id="17" creationId="{30D42031-251F-49E8-88FF-4D29FD55624B}"/>
          </ac:spMkLst>
        </pc:spChg>
        <pc:picChg chg="del">
          <ac:chgData name="Daniel Amores Alvarez" userId="S::damoresa@everis.com::ff5997fe-a964-45d1-b9c2-852633b5230a" providerId="AD" clId="Web-{BB906ADF-AB14-4CF1-A6A5-B4D24E7860C2}" dt="2020-01-15T11:22:01.522" v="4417"/>
          <ac:picMkLst>
            <pc:docMk/>
            <pc:sldMk cId="2378695879" sldId="561"/>
            <ac:picMk id="2" creationId="{7F55F897-ECF8-46CD-882C-45FF74FBAEBA}"/>
          </ac:picMkLst>
        </pc:picChg>
      </pc:sldChg>
      <pc:sldChg chg="modSp add replId">
        <pc:chgData name="Daniel Amores Alvarez" userId="S::damoresa@everis.com::ff5997fe-a964-45d1-b9c2-852633b5230a" providerId="AD" clId="Web-{BB906ADF-AB14-4CF1-A6A5-B4D24E7860C2}" dt="2020-01-15T11:32:32.601" v="4768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BB906ADF-AB14-4CF1-A6A5-B4D24E7860C2}" dt="2020-01-15T11:32:32.601" v="4768" actId="20577"/>
          <ac:spMkLst>
            <pc:docMk/>
            <pc:sldMk cId="3524603006" sldId="562"/>
            <ac:spMk id="5" creationId="{6F6BF734-4BF5-40CC-996E-E26F70A04B0A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8:35.741" v="4599" actId="20577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9:48.585" v="4639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7:04.398" v="4593" actId="20577"/>
          <ac:spMkLst>
            <pc:docMk/>
            <pc:sldMk cId="3524603006" sldId="562"/>
            <ac:spMk id="9" creationId="{DC1B2ADF-5902-43F8-AB17-7A5E9D9741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40C02-C639-4C32-B791-20C4E12FD2D8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AB200-DB0D-4364-B1E6-7086E9FDF12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2622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expressjs.com/en/advanced/best-practice-performance.html#use-promises" TargetMode="External"/><Relationship Id="rId3" Type="http://schemas.openxmlformats.org/officeDocument/2006/relationships/hyperlink" Target="https://www.npmjs.com/package/compression" TargetMode="External"/><Relationship Id="rId7" Type="http://schemas.openxmlformats.org/officeDocument/2006/relationships/hyperlink" Target="https://expressjs.com/en/advanced/best-practice-performance.html#use-try-catch" TargetMode="External"/><Relationship Id="rId12" Type="http://schemas.openxmlformats.org/officeDocument/2006/relationships/hyperlink" Target="https://www.digitalocean.com/community/tutorials/an-introduction-to-haproxy-and-load-balancing-concept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pmjs.com/package/bunyan" TargetMode="External"/><Relationship Id="rId11" Type="http://schemas.openxmlformats.org/officeDocument/2006/relationships/hyperlink" Target="http://nginx.org/en/docs/http/load_balancing.html" TargetMode="External"/><Relationship Id="rId5" Type="http://schemas.openxmlformats.org/officeDocument/2006/relationships/hyperlink" Target="https://www.npmjs.com/package/winston" TargetMode="External"/><Relationship Id="rId10" Type="http://schemas.openxmlformats.org/officeDocument/2006/relationships/hyperlink" Target="http://upstart.ubuntu.com/" TargetMode="External"/><Relationship Id="rId4" Type="http://schemas.openxmlformats.org/officeDocument/2006/relationships/hyperlink" Target="https://www.npmjs.com/package/debug" TargetMode="External"/><Relationship Id="rId9" Type="http://schemas.openxmlformats.org/officeDocument/2006/relationships/hyperlink" Target="https://wiki.debian.org/systemd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9296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17425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34242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1346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4023220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8143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3257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3296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Provided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simple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appliocation</a:t>
            </a: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Bes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practice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:</a:t>
            </a:r>
          </a:p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Use </a:t>
            </a:r>
            <a:r>
              <a:rPr lang="es-ES" dirty="0">
                <a:hlinkClick r:id="rId3"/>
              </a:rPr>
              <a:t>gzip</a:t>
            </a:r>
            <a:r>
              <a:rPr lang="es-ES" dirty="0"/>
              <a:t> </a:t>
            </a:r>
            <a:r>
              <a:rPr lang="es-ES" dirty="0" err="1"/>
              <a:t>compression</a:t>
            </a:r>
            <a:r>
              <a:rPr lang="es-E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Don’t</a:t>
            </a:r>
            <a:r>
              <a:rPr lang="es-ES" dirty="0"/>
              <a:t> use </a:t>
            </a:r>
            <a:r>
              <a:rPr lang="es-ES" dirty="0" err="1"/>
              <a:t>synchronous</a:t>
            </a:r>
            <a:r>
              <a:rPr lang="es-ES" dirty="0"/>
              <a:t> </a:t>
            </a:r>
            <a:r>
              <a:rPr lang="es-ES" dirty="0" err="1"/>
              <a:t>functions</a:t>
            </a:r>
            <a:r>
              <a:rPr lang="es-E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Do </a:t>
            </a:r>
            <a:r>
              <a:rPr lang="es-ES" dirty="0" err="1"/>
              <a:t>logging</a:t>
            </a:r>
            <a:r>
              <a:rPr lang="es-ES" dirty="0"/>
              <a:t> </a:t>
            </a:r>
            <a:r>
              <a:rPr lang="es-ES" dirty="0" err="1"/>
              <a:t>correctly</a:t>
            </a:r>
            <a:r>
              <a:rPr lang="es-ES" dirty="0"/>
              <a:t> (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debugging</a:t>
            </a:r>
            <a:r>
              <a:rPr lang="es-ES" dirty="0"/>
              <a:t>, use a </a:t>
            </a:r>
            <a:r>
              <a:rPr lang="es-ES" dirty="0" err="1"/>
              <a:t>special</a:t>
            </a:r>
            <a:r>
              <a:rPr lang="es-ES" dirty="0"/>
              <a:t> module </a:t>
            </a:r>
            <a:r>
              <a:rPr lang="es-ES" dirty="0" err="1"/>
              <a:t>like</a:t>
            </a:r>
            <a:r>
              <a:rPr lang="es-ES" dirty="0"/>
              <a:t> </a:t>
            </a:r>
            <a:r>
              <a:rPr lang="es-ES" dirty="0">
                <a:hlinkClick r:id="rId4"/>
              </a:rPr>
              <a:t>debug</a:t>
            </a:r>
            <a:r>
              <a:rPr lang="es-ES" dirty="0"/>
              <a:t>, </a:t>
            </a:r>
            <a:r>
              <a:rPr lang="es-ES" dirty="0" err="1"/>
              <a:t>for</a:t>
            </a:r>
            <a:r>
              <a:rPr lang="es-ES" dirty="0"/>
              <a:t> app </a:t>
            </a:r>
            <a:r>
              <a:rPr lang="es-ES" dirty="0" err="1"/>
              <a:t>activity</a:t>
            </a:r>
            <a:r>
              <a:rPr lang="es-ES" dirty="0"/>
              <a:t> use </a:t>
            </a:r>
            <a:r>
              <a:rPr lang="es-ES" dirty="0">
                <a:hlinkClick r:id="rId5"/>
              </a:rPr>
              <a:t>winston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</a:t>
            </a:r>
            <a:r>
              <a:rPr lang="es-ES" dirty="0">
                <a:hlinkClick r:id="rId6"/>
              </a:rPr>
              <a:t>bunyan</a:t>
            </a:r>
            <a:r>
              <a:rPr lang="es-ES" dirty="0"/>
              <a:t>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Handle</a:t>
            </a:r>
            <a:r>
              <a:rPr lang="es-ES" dirty="0"/>
              <a:t> </a:t>
            </a:r>
            <a:r>
              <a:rPr lang="es-ES" dirty="0" err="1"/>
              <a:t>exceptions</a:t>
            </a:r>
            <a:r>
              <a:rPr lang="es-ES" dirty="0"/>
              <a:t> </a:t>
            </a:r>
            <a:r>
              <a:rPr lang="es-ES" dirty="0" err="1"/>
              <a:t>properly</a:t>
            </a:r>
            <a:r>
              <a:rPr lang="es-ES" dirty="0"/>
              <a:t>, </a:t>
            </a:r>
            <a:r>
              <a:rPr lang="es-ES" dirty="0" err="1"/>
              <a:t>using</a:t>
            </a:r>
            <a:r>
              <a:rPr lang="es-ES" dirty="0"/>
              <a:t> </a:t>
            </a:r>
            <a:r>
              <a:rPr lang="es-ES" dirty="0">
                <a:hlinkClick r:id="rId7"/>
              </a:rPr>
              <a:t>try-catch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</a:t>
            </a:r>
            <a:r>
              <a:rPr lang="es-ES" dirty="0">
                <a:hlinkClick r:id="rId8"/>
              </a:rPr>
              <a:t>promises</a:t>
            </a:r>
            <a:r>
              <a:rPr lang="es-ES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 err="1"/>
              <a:t>Ensure</a:t>
            </a:r>
            <a:r>
              <a:rPr lang="es-ES" dirty="0"/>
              <a:t> </a:t>
            </a:r>
            <a:r>
              <a:rPr lang="es-ES" dirty="0" err="1"/>
              <a:t>your</a:t>
            </a:r>
            <a:r>
              <a:rPr lang="es-ES" dirty="0"/>
              <a:t> app </a:t>
            </a:r>
            <a:r>
              <a:rPr lang="es-ES" dirty="0" err="1"/>
              <a:t>automatically</a:t>
            </a:r>
            <a:r>
              <a:rPr lang="es-ES" dirty="0"/>
              <a:t> </a:t>
            </a:r>
            <a:r>
              <a:rPr lang="es-ES" dirty="0" err="1"/>
              <a:t>restarts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using</a:t>
            </a:r>
            <a:r>
              <a:rPr lang="es-ES" dirty="0"/>
              <a:t> a </a:t>
            </a:r>
            <a:r>
              <a:rPr lang="es-ES" dirty="0" err="1"/>
              <a:t>process</a:t>
            </a:r>
            <a:r>
              <a:rPr lang="es-ES" dirty="0"/>
              <a:t> manager </a:t>
            </a:r>
            <a:r>
              <a:rPr lang="es-ES" dirty="0" err="1"/>
              <a:t>or</a:t>
            </a:r>
            <a:r>
              <a:rPr lang="es-ES" dirty="0"/>
              <a:t> use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init</a:t>
            </a:r>
            <a:r>
              <a:rPr lang="es-ES" dirty="0"/>
              <a:t> </a:t>
            </a:r>
            <a:r>
              <a:rPr lang="es-ES" dirty="0" err="1"/>
              <a:t>system</a:t>
            </a:r>
            <a:r>
              <a:rPr lang="es-ES" dirty="0"/>
              <a:t> </a:t>
            </a:r>
            <a:r>
              <a:rPr lang="es-ES" dirty="0" err="1"/>
              <a:t>like</a:t>
            </a:r>
            <a:r>
              <a:rPr lang="es-ES" dirty="0"/>
              <a:t> </a:t>
            </a:r>
            <a:r>
              <a:rPr lang="es-ES" dirty="0">
                <a:hlinkClick r:id="rId9"/>
              </a:rPr>
              <a:t>systemd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</a:t>
            </a:r>
            <a:r>
              <a:rPr lang="es-ES" dirty="0">
                <a:hlinkClick r:id="rId10"/>
              </a:rPr>
              <a:t>upstart</a:t>
            </a:r>
            <a:r>
              <a:rPr lang="es-E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Run </a:t>
            </a:r>
            <a:r>
              <a:rPr lang="es-ES" dirty="0" err="1"/>
              <a:t>your</a:t>
            </a:r>
            <a:r>
              <a:rPr lang="es-ES" dirty="0"/>
              <a:t> app in a </a:t>
            </a:r>
            <a:r>
              <a:rPr lang="es-ES" dirty="0" err="1"/>
              <a:t>cluster</a:t>
            </a:r>
            <a:r>
              <a:rPr lang="es-ES" dirty="0"/>
              <a:t>. </a:t>
            </a:r>
            <a:r>
              <a:rPr lang="es-ES" dirty="0" err="1"/>
              <a:t>You</a:t>
            </a:r>
            <a:r>
              <a:rPr lang="es-ES" dirty="0"/>
              <a:t> can </a:t>
            </a:r>
            <a:r>
              <a:rPr lang="es-ES" dirty="0" err="1"/>
              <a:t>increas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erformance of a </a:t>
            </a:r>
            <a:r>
              <a:rPr lang="es-ES" dirty="0" err="1"/>
              <a:t>Node.js</a:t>
            </a:r>
            <a:r>
              <a:rPr lang="es-ES" dirty="0"/>
              <a:t> app </a:t>
            </a:r>
            <a:r>
              <a:rPr lang="es-ES" dirty="0" err="1"/>
              <a:t>greatly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launching</a:t>
            </a:r>
            <a:r>
              <a:rPr lang="es-ES" dirty="0"/>
              <a:t> a </a:t>
            </a:r>
            <a:r>
              <a:rPr lang="es-ES" dirty="0" err="1"/>
              <a:t>cluster</a:t>
            </a:r>
            <a:r>
              <a:rPr lang="es-ES" dirty="0"/>
              <a:t> of </a:t>
            </a:r>
            <a:r>
              <a:rPr lang="es-ES" dirty="0" err="1"/>
              <a:t>processes</a:t>
            </a:r>
            <a:r>
              <a:rPr lang="es-ES" dirty="0"/>
              <a:t> (a </a:t>
            </a:r>
            <a:r>
              <a:rPr lang="es-ES" dirty="0" err="1"/>
              <a:t>cluster</a:t>
            </a:r>
            <a:r>
              <a:rPr lang="es-ES" dirty="0"/>
              <a:t> </a:t>
            </a:r>
            <a:r>
              <a:rPr lang="es-ES" dirty="0" err="1"/>
              <a:t>runs</a:t>
            </a:r>
            <a:r>
              <a:rPr lang="es-ES" dirty="0"/>
              <a:t> </a:t>
            </a:r>
            <a:r>
              <a:rPr lang="es-ES" dirty="0" err="1"/>
              <a:t>multiple</a:t>
            </a:r>
            <a:r>
              <a:rPr lang="es-ES" dirty="0"/>
              <a:t> </a:t>
            </a:r>
            <a:r>
              <a:rPr lang="es-ES" dirty="0" err="1"/>
              <a:t>instances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app, </a:t>
            </a:r>
            <a:r>
              <a:rPr lang="es-ES" dirty="0" err="1"/>
              <a:t>distribut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load and </a:t>
            </a:r>
            <a:r>
              <a:rPr lang="es-ES" dirty="0" err="1"/>
              <a:t>tasks</a:t>
            </a:r>
            <a:r>
              <a:rPr lang="es-ES" dirty="0"/>
              <a:t> </a:t>
            </a:r>
            <a:r>
              <a:rPr lang="es-ES" dirty="0" err="1"/>
              <a:t>amo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stances</a:t>
            </a:r>
            <a:r>
              <a:rPr lang="es-ES" dirty="0"/>
              <a:t>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Cache </a:t>
            </a:r>
            <a:r>
              <a:rPr lang="es-ES" dirty="0" err="1"/>
              <a:t>request</a:t>
            </a:r>
            <a:r>
              <a:rPr lang="es-ES" dirty="0"/>
              <a:t> </a:t>
            </a:r>
            <a:r>
              <a:rPr lang="es-ES" dirty="0" err="1"/>
              <a:t>results</a:t>
            </a:r>
            <a:r>
              <a:rPr lang="es-ES" dirty="0"/>
              <a:t>, so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your</a:t>
            </a:r>
            <a:r>
              <a:rPr lang="es-ES" dirty="0"/>
              <a:t> app </a:t>
            </a:r>
            <a:r>
              <a:rPr lang="es-ES" dirty="0" err="1"/>
              <a:t>does</a:t>
            </a:r>
            <a:r>
              <a:rPr lang="es-ES" dirty="0"/>
              <a:t> </a:t>
            </a:r>
            <a:r>
              <a:rPr lang="es-ES" dirty="0" err="1"/>
              <a:t>not</a:t>
            </a:r>
            <a:r>
              <a:rPr lang="es-ES" dirty="0"/>
              <a:t> </a:t>
            </a:r>
            <a:r>
              <a:rPr lang="es-ES" dirty="0" err="1"/>
              <a:t>repeat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operation</a:t>
            </a:r>
            <a:r>
              <a:rPr lang="es-ES" dirty="0"/>
              <a:t> to </a:t>
            </a:r>
            <a:r>
              <a:rPr lang="es-ES" dirty="0" err="1"/>
              <a:t>serv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ame</a:t>
            </a:r>
            <a:r>
              <a:rPr lang="es-ES" dirty="0"/>
              <a:t> </a:t>
            </a:r>
            <a:r>
              <a:rPr lang="es-ES" dirty="0" err="1"/>
              <a:t>request</a:t>
            </a:r>
            <a:r>
              <a:rPr lang="es-ES" dirty="0"/>
              <a:t> </a:t>
            </a:r>
            <a:r>
              <a:rPr lang="es-ES" dirty="0" err="1"/>
              <a:t>repeatedly</a:t>
            </a:r>
            <a:r>
              <a:rPr lang="es-E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Use a load </a:t>
            </a:r>
            <a:r>
              <a:rPr lang="es-ES" dirty="0" err="1"/>
              <a:t>balancer</a:t>
            </a:r>
            <a:r>
              <a:rPr lang="es-ES" dirty="0"/>
              <a:t> to run </a:t>
            </a:r>
            <a:r>
              <a:rPr lang="es-ES" dirty="0" err="1"/>
              <a:t>multiple</a:t>
            </a:r>
            <a:r>
              <a:rPr lang="es-ES" dirty="0"/>
              <a:t> </a:t>
            </a:r>
            <a:r>
              <a:rPr lang="es-ES" dirty="0" err="1"/>
              <a:t>instances</a:t>
            </a:r>
            <a:r>
              <a:rPr lang="es-ES" dirty="0"/>
              <a:t> of </a:t>
            </a:r>
            <a:r>
              <a:rPr lang="es-ES" dirty="0" err="1"/>
              <a:t>it</a:t>
            </a:r>
            <a:r>
              <a:rPr lang="es-ES" dirty="0"/>
              <a:t> and </a:t>
            </a:r>
            <a:r>
              <a:rPr lang="es-ES" dirty="0" err="1"/>
              <a:t>distribut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raffic</a:t>
            </a:r>
            <a:r>
              <a:rPr lang="es-ES" dirty="0"/>
              <a:t>, </a:t>
            </a:r>
            <a:r>
              <a:rPr lang="es-ES" dirty="0" err="1"/>
              <a:t>like</a:t>
            </a:r>
            <a:r>
              <a:rPr lang="es-ES" dirty="0"/>
              <a:t> </a:t>
            </a:r>
            <a:r>
              <a:rPr lang="es-ES" dirty="0">
                <a:hlinkClick r:id="rId11"/>
              </a:rPr>
              <a:t>Nginx</a:t>
            </a:r>
            <a:r>
              <a:rPr lang="es-ES" dirty="0"/>
              <a:t> </a:t>
            </a:r>
            <a:r>
              <a:rPr lang="es-ES" dirty="0" err="1"/>
              <a:t>or</a:t>
            </a:r>
            <a:r>
              <a:rPr lang="es-ES" dirty="0"/>
              <a:t> </a:t>
            </a:r>
            <a:r>
              <a:rPr lang="es-ES" dirty="0">
                <a:hlinkClick r:id="rId12"/>
              </a:rPr>
              <a:t>HAProxy</a:t>
            </a:r>
            <a:r>
              <a:rPr lang="es-ES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Use a reverse proxy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performs</a:t>
            </a:r>
            <a:r>
              <a:rPr lang="es-ES" dirty="0"/>
              <a:t> </a:t>
            </a:r>
            <a:r>
              <a:rPr lang="es-ES" dirty="0" err="1"/>
              <a:t>supporting</a:t>
            </a:r>
            <a:r>
              <a:rPr lang="es-ES" dirty="0"/>
              <a:t> </a:t>
            </a:r>
            <a:r>
              <a:rPr lang="es-ES" dirty="0" err="1"/>
              <a:t>operations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requests</a:t>
            </a:r>
            <a:r>
              <a:rPr lang="es-ES" dirty="0"/>
              <a:t>. </a:t>
            </a:r>
            <a:r>
              <a:rPr lang="es-ES" dirty="0" err="1"/>
              <a:t>It</a:t>
            </a:r>
            <a:r>
              <a:rPr lang="es-ES" dirty="0"/>
              <a:t> can </a:t>
            </a:r>
            <a:r>
              <a:rPr lang="es-ES" dirty="0" err="1"/>
              <a:t>handle</a:t>
            </a:r>
            <a:r>
              <a:rPr lang="es-ES" dirty="0"/>
              <a:t> error </a:t>
            </a:r>
            <a:r>
              <a:rPr lang="es-ES" dirty="0" err="1"/>
              <a:t>pages</a:t>
            </a:r>
            <a:r>
              <a:rPr lang="es-ES" dirty="0"/>
              <a:t>, </a:t>
            </a:r>
            <a:r>
              <a:rPr lang="es-ES" dirty="0" err="1"/>
              <a:t>compression</a:t>
            </a:r>
            <a:r>
              <a:rPr lang="es-ES" dirty="0"/>
              <a:t>, </a:t>
            </a:r>
            <a:r>
              <a:rPr lang="es-ES" dirty="0" err="1"/>
              <a:t>caching</a:t>
            </a:r>
            <a:r>
              <a:rPr lang="es-ES" dirty="0"/>
              <a:t>, </a:t>
            </a:r>
            <a:r>
              <a:rPr lang="es-ES" dirty="0" err="1"/>
              <a:t>serving</a:t>
            </a:r>
            <a:r>
              <a:rPr lang="es-ES" dirty="0"/>
              <a:t> files, and load </a:t>
            </a:r>
            <a:r>
              <a:rPr lang="es-ES" dirty="0" err="1"/>
              <a:t>balancing</a:t>
            </a:r>
            <a:r>
              <a:rPr lang="es-ES" dirty="0"/>
              <a:t> </a:t>
            </a:r>
            <a:r>
              <a:rPr lang="es-ES" dirty="0" err="1"/>
              <a:t>among</a:t>
            </a:r>
            <a:r>
              <a:rPr lang="es-ES" dirty="0"/>
              <a:t>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things</a:t>
            </a:r>
            <a:r>
              <a:rPr lang="es-E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6443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1977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7578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29227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4925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8853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3255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906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08501" y="173125"/>
            <a:ext cx="1056112" cy="60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Objeto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568610" y="6291094"/>
            <a:ext cx="459316" cy="627405"/>
          </a:xfrm>
          <a:prstGeom prst="rect">
            <a:avLst/>
          </a:prstGeom>
          <a:ln w="3175">
            <a:miter lim="400000"/>
          </a:ln>
        </p:spPr>
        <p:txBody>
          <a:bodyPr lIns="26125" tIns="26125" rIns="26125" bIns="26125" anchor="ctr">
            <a:spAutoFit/>
          </a:bodyPr>
          <a:lstStyle>
            <a:lvl1pPr algn="r" defTabSz="825500">
              <a:defRPr sz="14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6pPr>
            <a:lvl7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7pPr>
            <a:lvl8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8pPr>
            <a:lvl9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E60061AB-E3E3-4B82-98B1-945D99ABF5FB}" type="slidenum">
              <a:rPr lang="es-ES" sz="1867" smtClean="0"/>
              <a:pPr/>
              <a:t>‹Nº›</a:t>
            </a:fld>
            <a:endParaRPr lang="es-ES" sz="1867"/>
          </a:p>
        </p:txBody>
      </p:sp>
    </p:spTree>
    <p:extLst>
      <p:ext uri="{BB962C8B-B14F-4D97-AF65-F5344CB8AC3E}">
        <p14:creationId xmlns:p14="http://schemas.microsoft.com/office/powerpoint/2010/main" val="4756595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4"/>
          <p:cNvSpPr/>
          <p:nvPr userDrawn="1"/>
        </p:nvSpPr>
        <p:spPr>
          <a:xfrm>
            <a:off x="11658323" y="6475790"/>
            <a:ext cx="388561" cy="2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rgbClr val="B5B5B5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endParaRPr sz="899">
              <a:solidFill>
                <a:srgbClr val="96969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hape 93"/>
          <p:cNvSpPr/>
          <p:nvPr userDrawn="1"/>
        </p:nvSpPr>
        <p:spPr>
          <a:xfrm flipV="1">
            <a:off x="972107" y="-1"/>
            <a:ext cx="1" cy="736049"/>
          </a:xfrm>
          <a:prstGeom prst="line">
            <a:avLst/>
          </a:prstGeom>
          <a:noFill/>
          <a:ln w="12700" cap="flat">
            <a:solidFill>
              <a:srgbClr val="FFFFFF"/>
            </a:solidFill>
            <a:prstDash val="sysDot"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 algn="l" defTabSz="456695">
              <a:defRPr sz="600">
                <a:latin typeface="+mj-lt"/>
                <a:ea typeface="+mj-ea"/>
                <a:cs typeface="+mj-cs"/>
                <a:sym typeface="Helvetica"/>
              </a:defRPr>
            </a:pPr>
            <a:endParaRPr sz="599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37524" y="6498391"/>
            <a:ext cx="505464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061AB-E3E3-4B82-98B1-945D99ABF5FB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03315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209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3271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605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750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0275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307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145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28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E057A-C0F9-41E1-BA24-0931FC6E2932}" type="datetimeFigureOut">
              <a:rPr lang="es-ES" smtClean="0"/>
              <a:t>19/0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66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12" Type="http://schemas.openxmlformats.org/officeDocument/2006/relationships/image" Target="../media/image1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18.jpe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12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19.pn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9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11" Type="http://schemas.openxmlformats.org/officeDocument/2006/relationships/image" Target="../media/image20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12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12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12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17.jpe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Entrada manual"/>
          <p:cNvSpPr/>
          <p:nvPr/>
        </p:nvSpPr>
        <p:spPr>
          <a:xfrm flipH="1">
            <a:off x="0" y="803614"/>
            <a:ext cx="9914082" cy="4963059"/>
          </a:xfrm>
          <a:prstGeom prst="flowChartManualInput">
            <a:avLst/>
          </a:prstGeom>
          <a:solidFill>
            <a:srgbClr val="537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99" dirty="0">
              <a:latin typeface="Century Gothic" panose="020B050202020202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868719" y="5041408"/>
            <a:ext cx="1755609" cy="33086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550" dirty="0">
                <a:solidFill>
                  <a:schemeClr val="bg1"/>
                </a:solidFill>
                <a:latin typeface="Century Gothic"/>
                <a:ea typeface="Helvetica Neue Thin" charset="0"/>
                <a:cs typeface="Helvetica Neue Thin" charset="0"/>
              </a:rPr>
              <a:t>September 2020</a:t>
            </a:r>
            <a:endParaRPr lang="en-US" sz="1598" dirty="0">
              <a:solidFill>
                <a:schemeClr val="bg1"/>
              </a:solidFill>
              <a:latin typeface="Century Gothic" panose="020B0502020202020204" pitchFamily="34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858422" y="5509741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858422" y="4899998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733300" y="1675882"/>
            <a:ext cx="6800502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JSNSD</a:t>
            </a:r>
          </a:p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OpenJS Node.js services developer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 rot="325252">
            <a:off x="3112607" y="801484"/>
            <a:ext cx="9180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4 Rectángulo">
            <a:extLst>
              <a:ext uri="{FF2B5EF4-FFF2-40B4-BE49-F238E27FC236}">
                <a16:creationId xmlns:a16="http://schemas.microsoft.com/office/drawing/2014/main" id="{C0FD4F4F-0130-4D9C-8FD2-DC97ED6CEC02}"/>
              </a:ext>
            </a:extLst>
          </p:cNvPr>
          <p:cNvSpPr/>
          <p:nvPr/>
        </p:nvSpPr>
        <p:spPr>
          <a:xfrm>
            <a:off x="733300" y="3409578"/>
            <a:ext cx="6800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REST API frameworks</a:t>
            </a:r>
          </a:p>
        </p:txBody>
      </p:sp>
      <p:sp>
        <p:nvSpPr>
          <p:cNvPr id="34" name="Rectángulo 33"/>
          <p:cNvSpPr/>
          <p:nvPr/>
        </p:nvSpPr>
        <p:spPr>
          <a:xfrm rot="325252">
            <a:off x="-58662" y="650535"/>
            <a:ext cx="12364709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image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912" y="252275"/>
            <a:ext cx="1757316" cy="931815"/>
          </a:xfrm>
          <a:prstGeom prst="rect">
            <a:avLst/>
          </a:prstGeom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106" name="Picture 2">
            <a:extLst>
              <a:ext uri="{FF2B5EF4-FFF2-40B4-BE49-F238E27FC236}">
                <a16:creationId xmlns:a16="http://schemas.microsoft.com/office/drawing/2014/main" id="{080FAB76-7BAE-554C-BB22-08C731E37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955" y="1485470"/>
            <a:ext cx="4589273" cy="458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857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8900" name="Picture 4" descr="Feathers (@feathersjs) | Twitter">
            <a:extLst>
              <a:ext uri="{FF2B5EF4-FFF2-40B4-BE49-F238E27FC236}">
                <a16:creationId xmlns:a16="http://schemas.microsoft.com/office/drawing/2014/main" id="{16571AD5-F46B-6F43-B0D1-34089D6B6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495" y="1056216"/>
            <a:ext cx="852078" cy="85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eathers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FeathersJS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FeathersJS</a:t>
            </a:r>
            <a:r>
              <a:rPr lang="en-US" sz="2000" dirty="0">
                <a:latin typeface="Century Gothic"/>
              </a:rPr>
              <a:t> is a framework based on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which is focused on APIs and 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real-time</a:t>
            </a:r>
            <a:r>
              <a:rPr lang="en-US" sz="2000" dirty="0">
                <a:latin typeface="Century Gothic"/>
              </a:rPr>
              <a:t> applications. It provides support for both </a:t>
            </a:r>
            <a:r>
              <a:rPr lang="en-US" sz="2000" i="1" dirty="0">
                <a:latin typeface="Century Gothic"/>
              </a:rPr>
              <a:t>JavaScript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>
                <a:latin typeface="Century Gothic"/>
              </a:rPr>
              <a:t>TypeScript</a:t>
            </a:r>
            <a:r>
              <a:rPr lang="en-US" sz="2000" dirty="0">
                <a:latin typeface="Century Gothic"/>
              </a:rPr>
              <a:t>.</a:t>
            </a: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FeathersJS</a:t>
            </a:r>
            <a:r>
              <a:rPr lang="en-US" sz="2000" dirty="0">
                <a:latin typeface="Century Gothic"/>
              </a:rPr>
              <a:t> builds on top of the already rich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ecosystem and doesn’t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im to re-invent the wheel, instead, it attempts to provide features missing on the already existing tools by building on top of them. For example, it builds on top of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but provides support for </a:t>
            </a:r>
            <a:r>
              <a:rPr lang="en-US" sz="2000" i="1" dirty="0">
                <a:latin typeface="Century Gothic"/>
              </a:rPr>
              <a:t>ES7 async</a:t>
            </a:r>
            <a:r>
              <a:rPr lang="en-US" sz="2000" dirty="0">
                <a:latin typeface="Century Gothic"/>
              </a:rPr>
              <a:t>/</a:t>
            </a:r>
            <a:r>
              <a:rPr lang="en-US" sz="2000" i="1" dirty="0">
                <a:latin typeface="Century Gothic"/>
              </a:rPr>
              <a:t>await</a:t>
            </a:r>
            <a:r>
              <a:rPr lang="en-US" sz="2000" dirty="0">
                <a:latin typeface="Century Gothic"/>
              </a:rPr>
              <a:t> to improve code readability and maintenance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provides concepts such as </a:t>
            </a:r>
            <a:r>
              <a:rPr lang="en-US" sz="2000" i="1" dirty="0">
                <a:latin typeface="Century Gothic"/>
              </a:rPr>
              <a:t>services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transports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configuration functions </a:t>
            </a:r>
            <a:r>
              <a:rPr lang="en-US" sz="2000" dirty="0">
                <a:latin typeface="Century Gothic"/>
              </a:rPr>
              <a:t>and </a:t>
            </a:r>
            <a:r>
              <a:rPr lang="en-US" sz="2000" i="1" dirty="0">
                <a:latin typeface="Century Gothic"/>
              </a:rPr>
              <a:t>adapters</a:t>
            </a:r>
            <a:r>
              <a:rPr lang="en-US" sz="2000" dirty="0">
                <a:latin typeface="Century Gothic"/>
              </a:rPr>
              <a:t> to make application implementation easier by providing a clear separation of concerns for all the element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One of the best features of </a:t>
            </a:r>
            <a:r>
              <a:rPr lang="en-US" sz="2000" i="1" dirty="0">
                <a:latin typeface="Century Gothic"/>
              </a:rPr>
              <a:t>FeathersJS</a:t>
            </a:r>
            <a:r>
              <a:rPr lang="en-US" sz="2000" dirty="0">
                <a:latin typeface="Century Gothic"/>
              </a:rPr>
              <a:t> is that it works on the browser just like it works on the backend. However, I personally do not recommend using </a:t>
            </a:r>
            <a:r>
              <a:rPr lang="en-US" sz="2000" i="1" dirty="0">
                <a:latin typeface="Century Gothic"/>
              </a:rPr>
              <a:t>FeathersJS </a:t>
            </a:r>
            <a:r>
              <a:rPr lang="en-US" sz="2000" dirty="0">
                <a:latin typeface="Century Gothic"/>
              </a:rPr>
              <a:t>as a frontend framework as </a:t>
            </a:r>
            <a:r>
              <a:rPr lang="en-US" sz="2000" i="1" dirty="0">
                <a:latin typeface="Century Gothic"/>
              </a:rPr>
              <a:t>Angular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Vue</a:t>
            </a:r>
            <a:r>
              <a:rPr lang="en-US" sz="2000" dirty="0">
                <a:latin typeface="Century Gothic"/>
              </a:rPr>
              <a:t> or </a:t>
            </a:r>
            <a:r>
              <a:rPr lang="en-US" sz="2000" i="1" dirty="0">
                <a:latin typeface="Century Gothic"/>
              </a:rPr>
              <a:t>React</a:t>
            </a:r>
            <a:r>
              <a:rPr lang="en-US" sz="2000" dirty="0">
                <a:latin typeface="Century Gothic"/>
              </a:rPr>
              <a:t> are much better, specialized options.</a:t>
            </a:r>
          </a:p>
        </p:txBody>
      </p:sp>
      <p:pic>
        <p:nvPicPr>
          <p:cNvPr id="14" name="Picture 7" descr="logotipo de github - Iconos gratis de redes sociales">
            <a:extLst>
              <a:ext uri="{FF2B5EF4-FFF2-40B4-BE49-F238E27FC236}">
                <a16:creationId xmlns:a16="http://schemas.microsoft.com/office/drawing/2014/main" id="{2FEEB0FE-D400-794D-90B8-B39A8D7A3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15" y="1873767"/>
            <a:ext cx="605970" cy="60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6656DEF8-DD13-7F47-BE42-3B5EB1F4102D}"/>
              </a:ext>
            </a:extLst>
          </p:cNvPr>
          <p:cNvSpPr txBox="1"/>
          <p:nvPr/>
        </p:nvSpPr>
        <p:spPr>
          <a:xfrm>
            <a:off x="9859736" y="2667189"/>
            <a:ext cx="1006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~13k stars</a:t>
            </a:r>
          </a:p>
        </p:txBody>
      </p:sp>
      <p:pic>
        <p:nvPicPr>
          <p:cNvPr id="17" name="Picture 9" descr="npm, Inc. Status">
            <a:extLst>
              <a:ext uri="{FF2B5EF4-FFF2-40B4-BE49-F238E27FC236}">
                <a16:creationId xmlns:a16="http://schemas.microsoft.com/office/drawing/2014/main" id="{DA01C02D-5636-F440-A776-473A09997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43" y="2099090"/>
            <a:ext cx="731217" cy="24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6BC62996-2A3D-E944-B462-74A47DDA9413}"/>
              </a:ext>
            </a:extLst>
          </p:cNvPr>
          <p:cNvSpPr txBox="1"/>
          <p:nvPr/>
        </p:nvSpPr>
        <p:spPr>
          <a:xfrm>
            <a:off x="10783129" y="2667378"/>
            <a:ext cx="1271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66.8k dls/w</a:t>
            </a:r>
          </a:p>
        </p:txBody>
      </p:sp>
    </p:spTree>
    <p:extLst>
      <p:ext uri="{BB962C8B-B14F-4D97-AF65-F5344CB8AC3E}">
        <p14:creationId xmlns:p14="http://schemas.microsoft.com/office/powerpoint/2010/main" val="216212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Ko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Feathers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 err="1">
                <a:solidFill>
                  <a:schemeClr val="bg1"/>
                </a:solidFill>
                <a:latin typeface="Century Gothic"/>
              </a:rPr>
              <a:t>NestJS</a:t>
            </a:r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843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46" name="Picture 6" descr="NestJS | LinkedIn">
            <a:extLst>
              <a:ext uri="{FF2B5EF4-FFF2-40B4-BE49-F238E27FC236}">
                <a16:creationId xmlns:a16="http://schemas.microsoft.com/office/drawing/2014/main" id="{9E059847-A36D-1144-9D4F-E34686132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4600" y="1081175"/>
            <a:ext cx="852078" cy="85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 err="1">
                <a:solidFill>
                  <a:schemeClr val="bg1"/>
                </a:solidFill>
                <a:latin typeface="Century Gothic"/>
              </a:rPr>
              <a:t>Nest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 err="1">
                <a:latin typeface="Century Gothic"/>
              </a:rPr>
              <a:t>NestJS</a:t>
            </a:r>
            <a:endParaRPr lang="en-US" sz="24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i="1" dirty="0" err="1">
                <a:latin typeface="Century Gothic"/>
              </a:rPr>
              <a:t>NestJS</a:t>
            </a:r>
            <a:r>
              <a:rPr lang="en-US" sz="2000" i="1" dirty="0"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is a framework based on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which aims to provide a solid </a:t>
            </a:r>
            <a:endParaRPr lang="en-US" dirty="0">
              <a:latin typeface="Calibri" panose="020F0502020204030204"/>
              <a:cs typeface="Calibri" panose="020F0502020204030204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oundation for application development by offering a modular and </a:t>
            </a:r>
            <a:endParaRPr lang="en-US">
              <a:latin typeface="Calibri" panose="020F0502020204030204"/>
              <a:cs typeface="Calibri" panose="020F0502020204030204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lexible architecture which can be easily extended and customized.</a:t>
            </a:r>
            <a:endParaRPr lang="en-US">
              <a:latin typeface="Calibri" panose="020F0502020204030204"/>
              <a:cs typeface="Calibri" panose="020F0502020204030204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s module and service system are heavily inspired by </a:t>
            </a:r>
            <a:r>
              <a:rPr lang="en-US" sz="2000" i="1" dirty="0">
                <a:latin typeface="Century Gothic"/>
              </a:rPr>
              <a:t>Angular</a:t>
            </a:r>
            <a:r>
              <a:rPr lang="en-US" sz="2000" dirty="0">
                <a:latin typeface="Century Gothic"/>
              </a:rPr>
              <a:t>, making it</a:t>
            </a:r>
            <a:br>
              <a:rPr lang="en-US" sz="2000" dirty="0">
                <a:latin typeface="Century Gothic"/>
              </a:rPr>
            </a:br>
            <a:r>
              <a:rPr lang="en-US" sz="2000" dirty="0">
                <a:latin typeface="Century Gothic"/>
              </a:rPr>
              <a:t>easy for frontend developers to develop </a:t>
            </a:r>
            <a:r>
              <a:rPr lang="en-US" sz="2000" i="1" dirty="0" err="1">
                <a:latin typeface="Century Gothic"/>
              </a:rPr>
              <a:t>NestJS</a:t>
            </a:r>
            <a:r>
              <a:rPr lang="en-US" sz="2000" dirty="0">
                <a:latin typeface="Century Gothic"/>
              </a:rPr>
              <a:t> application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s ecosystem is quite rich and offers a lot of third-party integrations ranging from databases to message brokers. This ecosystem ensures applications can be easily built using battle-tested component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i="1" dirty="0" err="1">
                <a:latin typeface="Century Gothic"/>
              </a:rPr>
              <a:t>NestJS</a:t>
            </a:r>
            <a:r>
              <a:rPr lang="en-US" sz="2000" i="1" dirty="0"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uses </a:t>
            </a:r>
            <a:r>
              <a:rPr lang="en-US" sz="2000" i="1" dirty="0">
                <a:latin typeface="Century Gothic"/>
              </a:rPr>
              <a:t>TypeScript </a:t>
            </a:r>
            <a:r>
              <a:rPr lang="en-US" sz="2000" dirty="0">
                <a:latin typeface="Century Gothic"/>
              </a:rPr>
              <a:t>out-of-the-box to provide strict typing and better object orientation features, but it also allows developers to use pure </a:t>
            </a:r>
            <a:r>
              <a:rPr lang="en-US" sz="2000" i="1" dirty="0">
                <a:latin typeface="Century Gothic"/>
              </a:rPr>
              <a:t>JavaScript</a:t>
            </a:r>
            <a:r>
              <a:rPr lang="en-US" sz="2000" dirty="0">
                <a:latin typeface="Century Gothic"/>
              </a:rPr>
              <a:t>.</a:t>
            </a:r>
            <a:endParaRPr lang="en-US" sz="2000" i="1" dirty="0">
              <a:latin typeface="Century Gothic"/>
            </a:endParaRPr>
          </a:p>
        </p:txBody>
      </p:sp>
      <p:pic>
        <p:nvPicPr>
          <p:cNvPr id="14" name="Picture 7" descr="logotipo de github - Iconos gratis de redes sociales">
            <a:extLst>
              <a:ext uri="{FF2B5EF4-FFF2-40B4-BE49-F238E27FC236}">
                <a16:creationId xmlns:a16="http://schemas.microsoft.com/office/drawing/2014/main" id="{2FEEB0FE-D400-794D-90B8-B39A8D7A3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15" y="1873767"/>
            <a:ext cx="605970" cy="60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6656DEF8-DD13-7F47-BE42-3B5EB1F4102D}"/>
              </a:ext>
            </a:extLst>
          </p:cNvPr>
          <p:cNvSpPr txBox="1"/>
          <p:nvPr/>
        </p:nvSpPr>
        <p:spPr>
          <a:xfrm>
            <a:off x="9859736" y="2667189"/>
            <a:ext cx="1006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~29k stars</a:t>
            </a:r>
          </a:p>
        </p:txBody>
      </p:sp>
      <p:pic>
        <p:nvPicPr>
          <p:cNvPr id="17" name="Picture 9" descr="npm, Inc. Status">
            <a:extLst>
              <a:ext uri="{FF2B5EF4-FFF2-40B4-BE49-F238E27FC236}">
                <a16:creationId xmlns:a16="http://schemas.microsoft.com/office/drawing/2014/main" id="{DA01C02D-5636-F440-A776-473A09997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43" y="2099090"/>
            <a:ext cx="731217" cy="24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6BC62996-2A3D-E944-B462-74A47DDA9413}"/>
              </a:ext>
            </a:extLst>
          </p:cNvPr>
          <p:cNvSpPr txBox="1"/>
          <p:nvPr/>
        </p:nvSpPr>
        <p:spPr>
          <a:xfrm>
            <a:off x="10783129" y="2667378"/>
            <a:ext cx="1271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434k dls/w</a:t>
            </a:r>
          </a:p>
        </p:txBody>
      </p:sp>
    </p:spTree>
    <p:extLst>
      <p:ext uri="{BB962C8B-B14F-4D97-AF65-F5344CB8AC3E}">
        <p14:creationId xmlns:p14="http://schemas.microsoft.com/office/powerpoint/2010/main" val="667787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Ko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eathersJ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Nest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81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Q&amp;A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916" name="Picture 4" descr="Resultado de imagen de QUESTION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914" y="983269"/>
            <a:ext cx="12218871" cy="587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29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r="8170" b="7848"/>
          <a:stretch/>
        </p:blipFill>
        <p:spPr>
          <a:xfrm>
            <a:off x="0" y="-88417"/>
            <a:ext cx="12300155" cy="6943023"/>
          </a:xfrm>
          <a:prstGeom prst="rect">
            <a:avLst/>
          </a:prstGeom>
          <a:effectLst>
            <a:glow rad="127000">
              <a:schemeClr val="accent1">
                <a:alpha val="51000"/>
              </a:schemeClr>
            </a:glow>
          </a:effectLst>
        </p:spPr>
      </p:pic>
      <p:sp>
        <p:nvSpPr>
          <p:cNvPr id="27" name="16 Rectángulo"/>
          <p:cNvSpPr/>
          <p:nvPr/>
        </p:nvSpPr>
        <p:spPr>
          <a:xfrm>
            <a:off x="1" y="-27384"/>
            <a:ext cx="122979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723900" y="828152"/>
            <a:ext cx="4947775" cy="3134297"/>
            <a:chOff x="1792374" y="1998274"/>
            <a:chExt cx="4947775" cy="3134297"/>
          </a:xfrm>
        </p:grpSpPr>
        <p:sp>
          <p:nvSpPr>
            <p:cNvPr id="3" name="2 Rectángulo"/>
            <p:cNvSpPr/>
            <p:nvPr/>
          </p:nvSpPr>
          <p:spPr>
            <a:xfrm>
              <a:off x="1792374" y="1998274"/>
              <a:ext cx="4947775" cy="3013493"/>
            </a:xfrm>
            <a:prstGeom prst="rect">
              <a:avLst/>
            </a:prstGeom>
          </p:spPr>
          <p:txBody>
            <a:bodyPr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rgentin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elgiu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razil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hile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olombia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France</a:t>
              </a:r>
            </a:p>
            <a:p>
              <a:pPr>
                <a:lnSpc>
                  <a:spcPct val="150000"/>
                </a:lnSpc>
              </a:pPr>
              <a:r>
                <a:rPr lang="es-ES" sz="2097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Españ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Italy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exico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erú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ortugal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nited</a:t>
              </a: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 </a:t>
              </a: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Kingdo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SA</a:t>
              </a:r>
            </a:p>
          </p:txBody>
        </p:sp>
        <p:sp>
          <p:nvSpPr>
            <p:cNvPr id="4" name="3 Rectángulo"/>
            <p:cNvSpPr/>
            <p:nvPr/>
          </p:nvSpPr>
          <p:spPr>
            <a:xfrm>
              <a:off x="3444979" y="3317206"/>
              <a:ext cx="2028636" cy="1514621"/>
            </a:xfrm>
            <a:prstGeom prst="rect">
              <a:avLst/>
            </a:prstGeom>
          </p:spPr>
          <p:txBody>
            <a:bodyPr wrap="square"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398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arcelona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vda. Diagonal, 605 4a planta 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08028 Barcelona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Tel.: 34 93 494 77 00</a:t>
              </a:r>
            </a:p>
            <a:p>
              <a:pPr>
                <a:lnSpc>
                  <a:spcPct val="150000"/>
                </a:lnSpc>
              </a:pPr>
              <a:r>
                <a:rPr lang="es-ES" sz="9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ov</a:t>
              </a: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: 34 692 288 378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www.everis.com</a:t>
              </a:r>
            </a:p>
          </p:txBody>
        </p:sp>
        <p:cxnSp>
          <p:nvCxnSpPr>
            <p:cNvPr id="15" name="14 Conector recto"/>
            <p:cNvCxnSpPr/>
            <p:nvPr/>
          </p:nvCxnSpPr>
          <p:spPr>
            <a:xfrm flipH="1">
              <a:off x="1832029" y="5132571"/>
              <a:ext cx="3760414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" name="9 Conector recto"/>
            <p:cNvCxnSpPr/>
            <p:nvPr/>
          </p:nvCxnSpPr>
          <p:spPr>
            <a:xfrm>
              <a:off x="2858849" y="3500928"/>
              <a:ext cx="540000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28858" y="4117875"/>
            <a:ext cx="719284" cy="2624699"/>
          </a:xfrm>
          <a:prstGeom prst="rect">
            <a:avLst/>
          </a:prstGeom>
        </p:spPr>
      </p:pic>
      <p:grpSp>
        <p:nvGrpSpPr>
          <p:cNvPr id="21" name="Grupo 20"/>
          <p:cNvGrpSpPr/>
          <p:nvPr/>
        </p:nvGrpSpPr>
        <p:grpSpPr>
          <a:xfrm>
            <a:off x="8115961" y="2180790"/>
            <a:ext cx="1618527" cy="1098285"/>
            <a:chOff x="10261455" y="2506524"/>
            <a:chExt cx="4222312" cy="2787337"/>
          </a:xfrm>
        </p:grpSpPr>
        <p:grpSp>
          <p:nvGrpSpPr>
            <p:cNvPr id="22" name="Grupo 21"/>
            <p:cNvGrpSpPr/>
            <p:nvPr/>
          </p:nvGrpSpPr>
          <p:grpSpPr>
            <a:xfrm>
              <a:off x="10261455" y="3546887"/>
              <a:ext cx="4222312" cy="1746974"/>
              <a:chOff x="3775011" y="1773238"/>
              <a:chExt cx="2110912" cy="873386"/>
            </a:xfrm>
          </p:grpSpPr>
          <p:sp>
            <p:nvSpPr>
              <p:cNvPr id="24" name="Shape 339"/>
              <p:cNvSpPr/>
              <p:nvPr/>
            </p:nvSpPr>
            <p:spPr>
              <a:xfrm>
                <a:off x="3775011" y="2646624"/>
                <a:ext cx="2110912" cy="0"/>
              </a:xfrm>
              <a:prstGeom prst="lin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txBody>
              <a:bodyPr lIns="45674" rIns="45674"/>
              <a:lstStyle/>
              <a:p>
                <a:endParaRPr lang="en-GB" sz="3596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Shape 442"/>
              <p:cNvSpPr/>
              <p:nvPr/>
            </p:nvSpPr>
            <p:spPr>
              <a:xfrm>
                <a:off x="4700718" y="1773238"/>
                <a:ext cx="92396" cy="76949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674" rIns="45674">
                <a:spAutoFit/>
              </a:bodyPr>
              <a:lstStyle>
                <a:lvl1pPr defTabSz="457200">
                  <a:lnSpc>
                    <a:spcPct val="110000"/>
                  </a:lnSpc>
                  <a:defRPr sz="1600" b="1">
                    <a:solidFill>
                      <a:srgbClr val="7B234B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lvl1pPr>
              </a:lstStyle>
              <a:p>
                <a:pPr algn="ctr"/>
                <a:endParaRPr lang="en-GB" sz="3996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5" descr="\\usersad.everis.int\enterprise_files\Spain\Madrid\Proyectos\Customer Experience\1.Cosas Diseño\11 - Logos everis NTT DATA\eve+ntt_logo_invertido-blanc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4402" y="2506524"/>
              <a:ext cx="3976420" cy="22154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463305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Ko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eathersJ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Nest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46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Introduction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4"/>
            <a:ext cx="11610439" cy="34329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ile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b="1" dirty="0">
                <a:latin typeface="Century Gothic"/>
              </a:rPr>
              <a:t>provides a fully fledged </a:t>
            </a:r>
            <a:r>
              <a:rPr lang="en-US" sz="2000" b="1" i="1" dirty="0">
                <a:latin typeface="Century Gothic"/>
              </a:rPr>
              <a:t>http</a:t>
            </a:r>
            <a:r>
              <a:rPr lang="en-US" sz="2000" b="1" dirty="0">
                <a:latin typeface="Century Gothic"/>
              </a:rPr>
              <a:t> module</a:t>
            </a:r>
            <a:r>
              <a:rPr lang="en-US" sz="2000" dirty="0">
                <a:latin typeface="Century Gothic"/>
              </a:rPr>
              <a:t>, that can be used to handle </a:t>
            </a:r>
            <a:r>
              <a:rPr lang="en-US" sz="2000" i="1" dirty="0">
                <a:latin typeface="Century Gothic"/>
              </a:rPr>
              <a:t>http</a:t>
            </a:r>
            <a:r>
              <a:rPr lang="en-US" sz="2000" dirty="0">
                <a:latin typeface="Century Gothic"/>
              </a:rPr>
              <a:t> requests and generate responses, the </a:t>
            </a:r>
            <a:r>
              <a:rPr lang="en-US" sz="2000" b="1" dirty="0">
                <a:latin typeface="Century Gothic"/>
              </a:rPr>
              <a:t>community has implemented several frameworks that ease its usage and provide additional features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hese </a:t>
            </a:r>
            <a:r>
              <a:rPr lang="en-US" sz="2000" i="1" dirty="0">
                <a:latin typeface="Century Gothic"/>
              </a:rPr>
              <a:t>frameworks</a:t>
            </a:r>
            <a:r>
              <a:rPr lang="en-US" sz="2000" dirty="0">
                <a:latin typeface="Century Gothic"/>
              </a:rPr>
              <a:t> are </a:t>
            </a:r>
            <a:r>
              <a:rPr lang="en-US" sz="2000" b="1" dirty="0">
                <a:latin typeface="Century Gothic"/>
              </a:rPr>
              <a:t>mostly aimed at building REST API services</a:t>
            </a:r>
            <a:r>
              <a:rPr lang="en-US" sz="2000" dirty="0">
                <a:latin typeface="Century Gothic"/>
              </a:rPr>
              <a:t>, but some of them also provide tooling to perform server-side rendering. You can think of them as </a:t>
            </a:r>
            <a:r>
              <a:rPr lang="en-US" sz="2000" i="1" dirty="0">
                <a:latin typeface="Century Gothic"/>
              </a:rPr>
              <a:t>Spring MVC/Boot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Play framework</a:t>
            </a:r>
            <a:r>
              <a:rPr lang="en-US" sz="2000" dirty="0">
                <a:latin typeface="Century Gothic"/>
              </a:rPr>
              <a:t> or </a:t>
            </a:r>
            <a:r>
              <a:rPr lang="en-US" sz="2000" i="1" dirty="0">
                <a:latin typeface="Century Gothic"/>
              </a:rPr>
              <a:t>Apache CXF REST</a:t>
            </a:r>
            <a:r>
              <a:rPr lang="en-US" sz="2000" dirty="0">
                <a:latin typeface="Century Gothic"/>
              </a:rPr>
              <a:t>. They’re usually very </a:t>
            </a:r>
            <a:r>
              <a:rPr lang="en-US" sz="2000" i="1" dirty="0">
                <a:latin typeface="Century Gothic"/>
              </a:rPr>
              <a:t>lightweight</a:t>
            </a:r>
            <a:r>
              <a:rPr lang="en-US" sz="2000" dirty="0">
                <a:latin typeface="Century Gothic"/>
              </a:rPr>
              <a:t> and can be extended through plugin systems – any developer can implement a plugin and have the rest of the world use it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When deciding which </a:t>
            </a:r>
            <a:r>
              <a:rPr lang="en-US" sz="2000" i="1" dirty="0">
                <a:latin typeface="Century Gothic"/>
              </a:rPr>
              <a:t>framework</a:t>
            </a:r>
            <a:r>
              <a:rPr lang="en-US" sz="2000" dirty="0">
                <a:latin typeface="Century Gothic"/>
              </a:rPr>
              <a:t> to use, the following features must be evaluated: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B2F8C669-6D67-6246-87C5-CFB3C8A2E106}"/>
              </a:ext>
            </a:extLst>
          </p:cNvPr>
          <p:cNvGrpSpPr/>
          <p:nvPr/>
        </p:nvGrpSpPr>
        <p:grpSpPr>
          <a:xfrm>
            <a:off x="742316" y="4881595"/>
            <a:ext cx="10707367" cy="1169834"/>
            <a:chOff x="790372" y="4963137"/>
            <a:chExt cx="10707367" cy="1169834"/>
          </a:xfrm>
        </p:grpSpPr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9483BB25-7415-7446-A5B1-C482D2C0D20E}"/>
                </a:ext>
              </a:extLst>
            </p:cNvPr>
            <p:cNvGrpSpPr/>
            <p:nvPr/>
          </p:nvGrpSpPr>
          <p:grpSpPr>
            <a:xfrm>
              <a:off x="8680759" y="4963137"/>
              <a:ext cx="2816980" cy="878756"/>
              <a:chOff x="8332416" y="4952251"/>
              <a:chExt cx="2816980" cy="878756"/>
            </a:xfrm>
          </p:grpSpPr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2015DB89-5660-0242-A5C8-032CD1F0DA0A}"/>
                  </a:ext>
                </a:extLst>
              </p:cNvPr>
              <p:cNvSpPr txBox="1"/>
              <p:nvPr/>
            </p:nvSpPr>
            <p:spPr>
              <a:xfrm>
                <a:off x="8987100" y="5184676"/>
                <a:ext cx="21622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Maturity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Community</a:t>
                </a:r>
              </a:p>
            </p:txBody>
          </p:sp>
          <p:pic>
            <p:nvPicPr>
              <p:cNvPr id="4" name="Imagen 3" descr="Imagen que contiene dibujo, señal&#10;&#10;Descripción generada automáticamente">
                <a:extLst>
                  <a:ext uri="{FF2B5EF4-FFF2-40B4-BE49-F238E27FC236}">
                    <a16:creationId xmlns:a16="http://schemas.microsoft.com/office/drawing/2014/main" id="{2C29E0D3-98A6-1841-B87C-89E92EB217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32416" y="4952251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FA32066C-BE81-BA41-8BA9-4EF06037E2D5}"/>
                </a:ext>
              </a:extLst>
            </p:cNvPr>
            <p:cNvGrpSpPr/>
            <p:nvPr/>
          </p:nvGrpSpPr>
          <p:grpSpPr>
            <a:xfrm>
              <a:off x="790372" y="4963137"/>
              <a:ext cx="3769700" cy="1169834"/>
              <a:chOff x="442029" y="4952251"/>
              <a:chExt cx="3769700" cy="1169834"/>
            </a:xfrm>
          </p:grpSpPr>
          <p:sp>
            <p:nvSpPr>
              <p:cNvPr id="2" name="CuadroTexto 1">
                <a:extLst>
                  <a:ext uri="{FF2B5EF4-FFF2-40B4-BE49-F238E27FC236}">
                    <a16:creationId xmlns:a16="http://schemas.microsoft.com/office/drawing/2014/main" id="{61B5AE27-3EEA-9B4D-AF00-618F1AC9C550}"/>
                  </a:ext>
                </a:extLst>
              </p:cNvPr>
              <p:cNvSpPr txBox="1"/>
              <p:nvPr/>
            </p:nvSpPr>
            <p:spPr>
              <a:xfrm>
                <a:off x="1102375" y="5198755"/>
                <a:ext cx="3109354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Route management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Request management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Configuration</a:t>
                </a:r>
              </a:p>
            </p:txBody>
          </p:sp>
          <p:pic>
            <p:nvPicPr>
              <p:cNvPr id="7" name="Imagen 6" descr="Imagen que contiene objeto&#10;&#10;Descripción generada automáticamente">
                <a:extLst>
                  <a:ext uri="{FF2B5EF4-FFF2-40B4-BE49-F238E27FC236}">
                    <a16:creationId xmlns:a16="http://schemas.microsoft.com/office/drawing/2014/main" id="{1FD1AE2F-420B-E94B-AC7F-4003F4EF90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2029" y="4952251"/>
                <a:ext cx="720000" cy="720000"/>
              </a:xfrm>
              <a:prstGeom prst="rect">
                <a:avLst/>
              </a:prstGeom>
            </p:spPr>
          </p:pic>
        </p:grpSp>
        <p:grpSp>
          <p:nvGrpSpPr>
            <p:cNvPr id="11" name="Grupo 10">
              <a:extLst>
                <a:ext uri="{FF2B5EF4-FFF2-40B4-BE49-F238E27FC236}">
                  <a16:creationId xmlns:a16="http://schemas.microsoft.com/office/drawing/2014/main" id="{1E444E49-3A7B-F640-97EF-E7B899C62764}"/>
                </a:ext>
              </a:extLst>
            </p:cNvPr>
            <p:cNvGrpSpPr/>
            <p:nvPr/>
          </p:nvGrpSpPr>
          <p:grpSpPr>
            <a:xfrm>
              <a:off x="4841811" y="4963137"/>
              <a:ext cx="3557209" cy="1169834"/>
              <a:chOff x="4460560" y="4952251"/>
              <a:chExt cx="3557209" cy="1169834"/>
            </a:xfrm>
          </p:grpSpPr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1AC875A1-CBAD-A24D-96CE-3078558C22F9}"/>
                  </a:ext>
                </a:extLst>
              </p:cNvPr>
              <p:cNvSpPr txBox="1"/>
              <p:nvPr/>
            </p:nvSpPr>
            <p:spPr>
              <a:xfrm>
                <a:off x="5115244" y="5198755"/>
                <a:ext cx="290252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Extendibility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View engine support</a:t>
                </a:r>
              </a:p>
              <a:p>
                <a:pPr marL="285750" indent="-285750">
                  <a:buFontTx/>
                  <a:buChar char="-"/>
                </a:pPr>
                <a:r>
                  <a:rPr lang="en-US" dirty="0">
                    <a:latin typeface="Century Gothic" panose="020B0502020202020204" pitchFamily="34" charset="0"/>
                  </a:rPr>
                  <a:t>Ecosystem</a:t>
                </a:r>
              </a:p>
            </p:txBody>
          </p:sp>
          <p:pic>
            <p:nvPicPr>
              <p:cNvPr id="9" name="Imagen 8" descr="Imagen que contiene camiseta&#10;&#10;Descripción generada automáticamente">
                <a:extLst>
                  <a:ext uri="{FF2B5EF4-FFF2-40B4-BE49-F238E27FC236}">
                    <a16:creationId xmlns:a16="http://schemas.microsoft.com/office/drawing/2014/main" id="{625BCB2B-7675-9B45-BC15-A38AAC7492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60560" y="4952251"/>
                <a:ext cx="720000" cy="720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1614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:a16="http://schemas.microsoft.com/office/drawing/2014/main" id="{D8C4D8C0-66D4-604C-8C21-DDD8A6B7E8FC}"/>
              </a:ext>
            </a:extLst>
          </p:cNvPr>
          <p:cNvSpPr/>
          <p:nvPr/>
        </p:nvSpPr>
        <p:spPr>
          <a:xfrm>
            <a:off x="4971828" y="1833648"/>
            <a:ext cx="5254363" cy="4401900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b"/>
          <a:lstStyle/>
          <a:p>
            <a:pPr algn="r"/>
            <a:r>
              <a:rPr lang="en-US" sz="1200" i="1" dirty="0">
                <a:latin typeface="Century Gothic" panose="020B0502020202020204" pitchFamily="34" charset="0"/>
              </a:rPr>
              <a:t>Service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4858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General execution flow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ángulo redondeado 15">
            <a:extLst>
              <a:ext uri="{FF2B5EF4-FFF2-40B4-BE49-F238E27FC236}">
                <a16:creationId xmlns:a16="http://schemas.microsoft.com/office/drawing/2014/main" id="{473C3019-731B-AD4F-B7C0-74F5B3235A72}"/>
              </a:ext>
            </a:extLst>
          </p:cNvPr>
          <p:cNvSpPr/>
          <p:nvPr/>
        </p:nvSpPr>
        <p:spPr>
          <a:xfrm rot="5400000">
            <a:off x="7762569" y="3598127"/>
            <a:ext cx="3783387" cy="70830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Framework runtime</a:t>
            </a:r>
          </a:p>
        </p:txBody>
      </p:sp>
      <p:sp>
        <p:nvSpPr>
          <p:cNvPr id="20" name="Rectángulo redondeado 19">
            <a:extLst>
              <a:ext uri="{FF2B5EF4-FFF2-40B4-BE49-F238E27FC236}">
                <a16:creationId xmlns:a16="http://schemas.microsoft.com/office/drawing/2014/main" id="{A8D596E1-46B3-AD49-8BEB-00FA2D42D710}"/>
              </a:ext>
            </a:extLst>
          </p:cNvPr>
          <p:cNvSpPr/>
          <p:nvPr/>
        </p:nvSpPr>
        <p:spPr>
          <a:xfrm>
            <a:off x="5129984" y="4041285"/>
            <a:ext cx="3699831" cy="180268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Handler</a:t>
            </a:r>
          </a:p>
        </p:txBody>
      </p:sp>
      <p:sp>
        <p:nvSpPr>
          <p:cNvPr id="21" name="Rectángulo redondeado 20">
            <a:extLst>
              <a:ext uri="{FF2B5EF4-FFF2-40B4-BE49-F238E27FC236}">
                <a16:creationId xmlns:a16="http://schemas.microsoft.com/office/drawing/2014/main" id="{1106A736-5AF5-D94E-90E0-97CEE1550B64}"/>
              </a:ext>
            </a:extLst>
          </p:cNvPr>
          <p:cNvSpPr/>
          <p:nvPr/>
        </p:nvSpPr>
        <p:spPr>
          <a:xfrm>
            <a:off x="5129984" y="3381051"/>
            <a:ext cx="3699831" cy="5651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Middlewar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B8CCC6B-74AE-AA4D-A36A-49434BFF0471}"/>
              </a:ext>
            </a:extLst>
          </p:cNvPr>
          <p:cNvSpPr/>
          <p:nvPr/>
        </p:nvSpPr>
        <p:spPr>
          <a:xfrm>
            <a:off x="1965808" y="2054512"/>
            <a:ext cx="1245613" cy="568534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Request</a:t>
            </a:r>
          </a:p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object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C7C65B1E-F9F6-3344-9AC8-256861721136}"/>
              </a:ext>
            </a:extLst>
          </p:cNvPr>
          <p:cNvSpPr/>
          <p:nvPr/>
        </p:nvSpPr>
        <p:spPr>
          <a:xfrm>
            <a:off x="1965808" y="4324293"/>
            <a:ext cx="1245613" cy="568534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Response</a:t>
            </a:r>
          </a:p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object</a:t>
            </a:r>
          </a:p>
        </p:txBody>
      </p:sp>
      <p:sp>
        <p:nvSpPr>
          <p:cNvPr id="26" name="Rectángulo redondeado 25">
            <a:extLst>
              <a:ext uri="{FF2B5EF4-FFF2-40B4-BE49-F238E27FC236}">
                <a16:creationId xmlns:a16="http://schemas.microsoft.com/office/drawing/2014/main" id="{1AC99832-02A7-C14E-816F-DF909942EE2E}"/>
              </a:ext>
            </a:extLst>
          </p:cNvPr>
          <p:cNvSpPr/>
          <p:nvPr/>
        </p:nvSpPr>
        <p:spPr>
          <a:xfrm>
            <a:off x="5129984" y="2720817"/>
            <a:ext cx="3699831" cy="5651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Middleware</a:t>
            </a:r>
          </a:p>
        </p:txBody>
      </p:sp>
      <p:sp>
        <p:nvSpPr>
          <p:cNvPr id="27" name="Rectángulo redondeado 26">
            <a:extLst>
              <a:ext uri="{FF2B5EF4-FFF2-40B4-BE49-F238E27FC236}">
                <a16:creationId xmlns:a16="http://schemas.microsoft.com/office/drawing/2014/main" id="{956165EF-B5B8-2D44-A306-F796AE6A8E53}"/>
              </a:ext>
            </a:extLst>
          </p:cNvPr>
          <p:cNvSpPr/>
          <p:nvPr/>
        </p:nvSpPr>
        <p:spPr>
          <a:xfrm>
            <a:off x="5120802" y="2060583"/>
            <a:ext cx="3699831" cy="5651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Middleware</a:t>
            </a:r>
          </a:p>
        </p:txBody>
      </p: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5808965C-13E5-1B4B-B38A-8FC9C9F080D4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211421" y="2338779"/>
            <a:ext cx="17604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486F1D4F-F133-1243-A904-1F5E499CE79C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3211421" y="4608560"/>
            <a:ext cx="1760408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A4337F44-0ADF-DC4F-B54D-EDFD661BC54D}"/>
              </a:ext>
            </a:extLst>
          </p:cNvPr>
          <p:cNvCxnSpPr>
            <a:cxnSpLocks/>
          </p:cNvCxnSpPr>
          <p:nvPr/>
        </p:nvCxnSpPr>
        <p:spPr>
          <a:xfrm flipV="1">
            <a:off x="9036342" y="2054513"/>
            <a:ext cx="0" cy="3789458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CuadroTexto 35">
            <a:extLst>
              <a:ext uri="{FF2B5EF4-FFF2-40B4-BE49-F238E27FC236}">
                <a16:creationId xmlns:a16="http://schemas.microsoft.com/office/drawing/2014/main" id="{FF1F7C4F-55D9-7148-B55A-FBD208E23975}"/>
              </a:ext>
            </a:extLst>
          </p:cNvPr>
          <p:cNvSpPr txBox="1"/>
          <p:nvPr/>
        </p:nvSpPr>
        <p:spPr>
          <a:xfrm>
            <a:off x="1965808" y="2720817"/>
            <a:ext cx="27994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Headers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HTTP verb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Target URL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Body content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…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A6CEFFD6-1416-8946-BF5B-2880134F9150}"/>
              </a:ext>
            </a:extLst>
          </p:cNvPr>
          <p:cNvSpPr txBox="1"/>
          <p:nvPr/>
        </p:nvSpPr>
        <p:spPr>
          <a:xfrm>
            <a:off x="1965808" y="4990597"/>
            <a:ext cx="27994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Headers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Status code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Response content</a:t>
            </a:r>
          </a:p>
          <a:p>
            <a:pPr marL="285750" indent="-285750">
              <a:buFontTx/>
              <a:buChar char="-"/>
            </a:pPr>
            <a:r>
              <a:rPr lang="en-US" sz="1200" dirty="0">
                <a:latin typeface="Century Gothic" panose="020B0502020202020204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46819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Ko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eathersJ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Nest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93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expres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express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express </a:t>
            </a:r>
            <a:r>
              <a:rPr lang="en-US" sz="2000" dirty="0">
                <a:latin typeface="Century Gothic"/>
              </a:rPr>
              <a:t>is a minimal and flexible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web application framework that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provides many features and is extensible through its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system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o this day, it is almost considered the standard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web middleware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and it is the most popular framework for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. On top of that, it is very </a:t>
            </a:r>
            <a:r>
              <a:rPr lang="en-US" sz="2000" i="1" dirty="0">
                <a:latin typeface="Century Gothic"/>
              </a:rPr>
              <a:t>simple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minimalistic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scalable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>
                <a:latin typeface="Century Gothic"/>
              </a:rPr>
              <a:t>flexible</a:t>
            </a:r>
            <a:r>
              <a:rPr lang="en-US" sz="2000" dirty="0">
                <a:latin typeface="Century Gothic"/>
              </a:rPr>
              <a:t> and has a </a:t>
            </a:r>
            <a:r>
              <a:rPr lang="en-US" sz="2000" i="1" dirty="0">
                <a:latin typeface="Century Gothic"/>
              </a:rPr>
              <a:t>low learning curve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</a:t>
            </a:r>
            <a:r>
              <a:rPr lang="en-US" sz="2000" i="1" dirty="0">
                <a:latin typeface="Century Gothic"/>
              </a:rPr>
              <a:t>supports rendering engines </a:t>
            </a:r>
            <a:r>
              <a:rPr lang="en-US" sz="2000" dirty="0">
                <a:latin typeface="Century Gothic"/>
              </a:rPr>
              <a:t>out of the box and is majorly focused on browsers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Finally, it is fully </a:t>
            </a:r>
            <a:r>
              <a:rPr lang="en-US" sz="2000" i="1" dirty="0">
                <a:latin typeface="Century Gothic"/>
              </a:rPr>
              <a:t>customizable</a:t>
            </a:r>
            <a:r>
              <a:rPr lang="en-US" sz="2000" dirty="0">
                <a:latin typeface="Century Gothic"/>
              </a:rPr>
              <a:t>, making it suitable for almost any kind of service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However,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 requires a lot of boilerplate code– mainly route controllers – and maintenance becomes very complex if the project is not organized very clearly.</a:t>
            </a:r>
          </a:p>
        </p:txBody>
      </p:sp>
      <p:pic>
        <p:nvPicPr>
          <p:cNvPr id="14" name="Picture 4" descr="Hello World con Express y NodeJS">
            <a:extLst>
              <a:ext uri="{FF2B5EF4-FFF2-40B4-BE49-F238E27FC236}">
                <a16:creationId xmlns:a16="http://schemas.microsoft.com/office/drawing/2014/main" id="{70294524-6421-1E4A-8E71-A523C4174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778061"/>
            <a:ext cx="1445871" cy="1445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31" name="Picture 7" descr="logotipo de github - Iconos gratis de redes sociales">
            <a:extLst>
              <a:ext uri="{FF2B5EF4-FFF2-40B4-BE49-F238E27FC236}">
                <a16:creationId xmlns:a16="http://schemas.microsoft.com/office/drawing/2014/main" id="{D030663E-8D21-6D49-904B-A5D02CFD5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15" y="1873767"/>
            <a:ext cx="605970" cy="60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FF8732D2-8934-9E49-AF2F-A69DB27A1275}"/>
              </a:ext>
            </a:extLst>
          </p:cNvPr>
          <p:cNvSpPr txBox="1"/>
          <p:nvPr/>
        </p:nvSpPr>
        <p:spPr>
          <a:xfrm>
            <a:off x="9859736" y="2667189"/>
            <a:ext cx="1006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~50k stars</a:t>
            </a:r>
          </a:p>
        </p:txBody>
      </p:sp>
      <p:pic>
        <p:nvPicPr>
          <p:cNvPr id="205833" name="Picture 9" descr="npm, Inc. Status">
            <a:extLst>
              <a:ext uri="{FF2B5EF4-FFF2-40B4-BE49-F238E27FC236}">
                <a16:creationId xmlns:a16="http://schemas.microsoft.com/office/drawing/2014/main" id="{CC92CFC0-1352-0240-B9F4-66640E9BC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43" y="2099090"/>
            <a:ext cx="731217" cy="24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885CAF9F-867D-A34D-BAFE-805340B91598}"/>
              </a:ext>
            </a:extLst>
          </p:cNvPr>
          <p:cNvSpPr txBox="1"/>
          <p:nvPr/>
        </p:nvSpPr>
        <p:spPr>
          <a:xfrm>
            <a:off x="10783129" y="2667378"/>
            <a:ext cx="1271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21.5M dls/w</a:t>
            </a:r>
          </a:p>
        </p:txBody>
      </p:sp>
    </p:spTree>
    <p:extLst>
      <p:ext uri="{BB962C8B-B14F-4D97-AF65-F5344CB8AC3E}">
        <p14:creationId xmlns:p14="http://schemas.microsoft.com/office/powerpoint/2010/main" val="188340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Koa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eathers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Nest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607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852" name="Picture 4" descr="Pin en Koa.js">
            <a:extLst>
              <a:ext uri="{FF2B5EF4-FFF2-40B4-BE49-F238E27FC236}">
                <a16:creationId xmlns:a16="http://schemas.microsoft.com/office/drawing/2014/main" id="{BBA8D2D5-C88B-DA42-B752-D21E6631D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5442" y="993396"/>
            <a:ext cx="1828800" cy="102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9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Koa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Koa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Koa</a:t>
            </a:r>
            <a:r>
              <a:rPr lang="en-US" sz="2000" dirty="0">
                <a:latin typeface="Century Gothic"/>
              </a:rPr>
              <a:t> was built by the same team that designed and developed </a:t>
            </a:r>
            <a:r>
              <a:rPr lang="en-US" sz="2000" i="1" dirty="0">
                <a:latin typeface="Century Gothic"/>
              </a:rPr>
              <a:t>express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t aims to be smaller and make web applications and APIs more enjoyable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to write.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Koa</a:t>
            </a:r>
            <a:r>
              <a:rPr lang="en-US" sz="2000" dirty="0">
                <a:latin typeface="Century Gothic"/>
              </a:rPr>
              <a:t> doesn’t bundle any </a:t>
            </a:r>
            <a:r>
              <a:rPr lang="en-US" sz="2000" i="1" dirty="0">
                <a:latin typeface="Century Gothic"/>
              </a:rPr>
              <a:t>middleware</a:t>
            </a:r>
            <a:r>
              <a:rPr lang="en-US" sz="2000" dirty="0">
                <a:latin typeface="Century Gothic"/>
              </a:rPr>
              <a:t> on its core, which is very small and 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contains methods mostly common in all HTTP servers such as </a:t>
            </a:r>
            <a:r>
              <a:rPr lang="en-US" sz="2000" i="1" dirty="0">
                <a:latin typeface="Century Gothic"/>
              </a:rPr>
              <a:t>content negotiation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normalization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>
                <a:latin typeface="Century Gothic"/>
              </a:rPr>
              <a:t>redirection </a:t>
            </a:r>
            <a:r>
              <a:rPr lang="en-US" sz="2000" dirty="0">
                <a:latin typeface="Century Gothic"/>
              </a:rPr>
              <a:t>among a few others.</a:t>
            </a:r>
          </a:p>
          <a:p>
            <a:pPr>
              <a:spcBef>
                <a:spcPct val="20000"/>
              </a:spcBef>
            </a:pP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n order to maximize performance, </a:t>
            </a:r>
            <a:r>
              <a:rPr lang="en-US" sz="2000" i="1" dirty="0">
                <a:latin typeface="Century Gothic"/>
              </a:rPr>
              <a:t>Koa</a:t>
            </a:r>
            <a:r>
              <a:rPr lang="en-US" sz="2000" dirty="0">
                <a:latin typeface="Century Gothic"/>
              </a:rPr>
              <a:t> uses promises through all its </a:t>
            </a:r>
            <a:r>
              <a:rPr lang="en-US" sz="2000" i="1" dirty="0" err="1">
                <a:latin typeface="Century Gothic"/>
              </a:rPr>
              <a:t>middlewares</a:t>
            </a:r>
            <a:r>
              <a:rPr lang="en-US" sz="2000" dirty="0">
                <a:latin typeface="Century Gothic"/>
              </a:rPr>
              <a:t> – </a:t>
            </a:r>
            <a:r>
              <a:rPr lang="en-US" sz="2000" i="1" dirty="0">
                <a:latin typeface="Century Gothic"/>
              </a:rPr>
              <a:t>ES7</a:t>
            </a:r>
            <a:r>
              <a:rPr lang="en-US" sz="2000" dirty="0">
                <a:latin typeface="Century Gothic"/>
              </a:rPr>
              <a:t> is highly recommended in order to implement clean, readable code; for example, error management is much clearer using </a:t>
            </a:r>
            <a:r>
              <a:rPr lang="en-US" sz="2000" i="1" dirty="0">
                <a:latin typeface="Century Gothic"/>
              </a:rPr>
              <a:t>try/catch</a:t>
            </a:r>
            <a:r>
              <a:rPr lang="en-US" sz="2000" dirty="0">
                <a:latin typeface="Century Gothic"/>
              </a:rPr>
              <a:t> in combination with </a:t>
            </a:r>
            <a:r>
              <a:rPr lang="en-US" sz="2000" i="1" dirty="0">
                <a:latin typeface="Century Gothic"/>
              </a:rPr>
              <a:t>async</a:t>
            </a:r>
            <a:r>
              <a:rPr lang="en-US" sz="2000" dirty="0">
                <a:latin typeface="Century Gothic"/>
              </a:rPr>
              <a:t>/</a:t>
            </a:r>
            <a:r>
              <a:rPr lang="en-US" sz="2000" i="1" dirty="0">
                <a:latin typeface="Century Gothic"/>
              </a:rPr>
              <a:t>await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sz="2000" i="1" dirty="0">
                <a:latin typeface="Century Gothic"/>
              </a:rPr>
              <a:t>Koa</a:t>
            </a:r>
            <a:r>
              <a:rPr lang="en-US" sz="2000" dirty="0">
                <a:latin typeface="Century Gothic"/>
              </a:rPr>
              <a:t> works as a </a:t>
            </a:r>
            <a:r>
              <a:rPr lang="en-US" sz="2000" i="1" dirty="0">
                <a:latin typeface="Century Gothic"/>
              </a:rPr>
              <a:t>middleware stack</a:t>
            </a:r>
            <a:r>
              <a:rPr lang="en-US" sz="2000" dirty="0">
                <a:latin typeface="Century Gothic"/>
              </a:rPr>
              <a:t>; this means the </a:t>
            </a:r>
            <a:r>
              <a:rPr lang="en-US" sz="2000" i="1" dirty="0">
                <a:latin typeface="Century Gothic"/>
              </a:rPr>
              <a:t>request</a:t>
            </a:r>
            <a:r>
              <a:rPr lang="en-US" sz="2000" dirty="0">
                <a:latin typeface="Century Gothic"/>
              </a:rPr>
              <a:t> can be manipulated as it goes </a:t>
            </a:r>
            <a:r>
              <a:rPr lang="en-US" sz="2000" i="1" dirty="0">
                <a:latin typeface="Century Gothic"/>
              </a:rPr>
              <a:t>downstream</a:t>
            </a:r>
            <a:r>
              <a:rPr lang="en-US" sz="2000" dirty="0">
                <a:latin typeface="Century Gothic"/>
              </a:rPr>
              <a:t> and the </a:t>
            </a:r>
            <a:r>
              <a:rPr lang="en-US" sz="2000" i="1" dirty="0">
                <a:latin typeface="Century Gothic"/>
              </a:rPr>
              <a:t>response</a:t>
            </a:r>
            <a:r>
              <a:rPr lang="en-US" sz="2000" dirty="0">
                <a:latin typeface="Century Gothic"/>
              </a:rPr>
              <a:t> can be filtered and enriched as it goes </a:t>
            </a:r>
            <a:r>
              <a:rPr lang="en-US" sz="2000" i="1" dirty="0">
                <a:latin typeface="Century Gothic"/>
              </a:rPr>
              <a:t>upstream</a:t>
            </a:r>
            <a:r>
              <a:rPr lang="en-US" sz="20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2000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n the other hand, it’s not as popular as </a:t>
            </a:r>
            <a:r>
              <a:rPr lang="en-US" sz="2000" i="1" dirty="0">
                <a:latin typeface="Century Gothic"/>
              </a:rPr>
              <a:t>express</a:t>
            </a:r>
            <a:r>
              <a:rPr lang="en-US" sz="2000" dirty="0">
                <a:latin typeface="Century Gothic"/>
              </a:rPr>
              <a:t>, and hence has a much smaller community.</a:t>
            </a:r>
          </a:p>
        </p:txBody>
      </p:sp>
      <p:pic>
        <p:nvPicPr>
          <p:cNvPr id="16" name="Picture 7" descr="logotipo de github - Iconos gratis de redes sociales">
            <a:extLst>
              <a:ext uri="{FF2B5EF4-FFF2-40B4-BE49-F238E27FC236}">
                <a16:creationId xmlns:a16="http://schemas.microsoft.com/office/drawing/2014/main" id="{17F088D6-0F31-B64A-9669-343B34B6F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215" y="1873767"/>
            <a:ext cx="605970" cy="60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1019B37A-3C55-5240-899F-5D1251C91496}"/>
              </a:ext>
            </a:extLst>
          </p:cNvPr>
          <p:cNvSpPr txBox="1"/>
          <p:nvPr/>
        </p:nvSpPr>
        <p:spPr>
          <a:xfrm>
            <a:off x="9859736" y="2667189"/>
            <a:ext cx="1006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~30k stars</a:t>
            </a:r>
          </a:p>
        </p:txBody>
      </p:sp>
      <p:pic>
        <p:nvPicPr>
          <p:cNvPr id="18" name="Picture 9" descr="npm, Inc. Status">
            <a:extLst>
              <a:ext uri="{FF2B5EF4-FFF2-40B4-BE49-F238E27FC236}">
                <a16:creationId xmlns:a16="http://schemas.microsoft.com/office/drawing/2014/main" id="{3ED1FF2B-420D-644B-83D3-04C62BFED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43" y="2099090"/>
            <a:ext cx="731217" cy="24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046809D8-DF78-9C41-88F0-4D298ACC9AA9}"/>
              </a:ext>
            </a:extLst>
          </p:cNvPr>
          <p:cNvSpPr txBox="1"/>
          <p:nvPr/>
        </p:nvSpPr>
        <p:spPr>
          <a:xfrm>
            <a:off x="10783129" y="2667378"/>
            <a:ext cx="1271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803k dls/w</a:t>
            </a:r>
          </a:p>
        </p:txBody>
      </p:sp>
    </p:spTree>
    <p:extLst>
      <p:ext uri="{BB962C8B-B14F-4D97-AF65-F5344CB8AC3E}">
        <p14:creationId xmlns:p14="http://schemas.microsoft.com/office/powerpoint/2010/main" val="47215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34573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Expres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Koa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FeathersJS</a:t>
            </a:r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 err="1">
                <a:solidFill>
                  <a:schemeClr val="bg1">
                    <a:lumMod val="65000"/>
                  </a:schemeClr>
                </a:solidFill>
                <a:latin typeface="Century Gothic"/>
              </a:rPr>
              <a:t>Nest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077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cWcA9xEig.kVe72TE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DFA0D424492F4488FD19F0313A4A8E" ma:contentTypeVersion="7" ma:contentTypeDescription="Crear nuevo documento." ma:contentTypeScope="" ma:versionID="a0796ebe79cd66ddbdc362b7ec60ade8">
  <xsd:schema xmlns:xsd="http://www.w3.org/2001/XMLSchema" xmlns:xs="http://www.w3.org/2001/XMLSchema" xmlns:p="http://schemas.microsoft.com/office/2006/metadata/properties" xmlns:ns2="70b275a6-ebc4-4329-823d-2f0b076e2e90" targetNamespace="http://schemas.microsoft.com/office/2006/metadata/properties" ma:root="true" ma:fieldsID="31de4d5ed18746f823219e0e97876651" ns2:_="">
    <xsd:import namespace="70b275a6-ebc4-4329-823d-2f0b076e2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275a6-ebc4-4329-823d-2f0b076e2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45EB77B-7439-4000-9328-EC42AA6B34C8}"/>
</file>

<file path=customXml/itemProps2.xml><?xml version="1.0" encoding="utf-8"?>
<ds:datastoreItem xmlns:ds="http://schemas.openxmlformats.org/officeDocument/2006/customXml" ds:itemID="{6887B398-6F69-4596-B747-F4443ED899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E8D0B7-5162-41EA-8FFF-09AC3CCD2764}">
  <ds:schemaRefs>
    <ds:schemaRef ds:uri="3b5cbd70-4536-4d86-a81c-1376e5bb715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2</TotalTime>
  <Words>1164</Words>
  <Application>Microsoft Office PowerPoint</Application>
  <PresentationFormat>Panorámica</PresentationFormat>
  <Paragraphs>206</Paragraphs>
  <Slides>15</Slides>
  <Notes>13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16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veri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rgio Paños Hernandez</dc:creator>
  <cp:lastModifiedBy>Daniel Amores Alvarez</cp:lastModifiedBy>
  <cp:revision>726</cp:revision>
  <dcterms:created xsi:type="dcterms:W3CDTF">2017-05-23T11:06:23Z</dcterms:created>
  <dcterms:modified xsi:type="dcterms:W3CDTF">2021-01-19T10:3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DFA0D424492F4488FD19F0313A4A8E</vt:lpwstr>
  </property>
  <property fmtid="{D5CDD505-2E9C-101B-9397-08002B2CF9AE}" pid="3" name="AuthorIds_UIVersion_9216">
    <vt:lpwstr>6</vt:lpwstr>
  </property>
</Properties>
</file>